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57" r:id="rId2"/>
    <p:sldId id="360" r:id="rId3"/>
    <p:sldId id="258" r:id="rId4"/>
    <p:sldId id="374" r:id="rId5"/>
    <p:sldId id="367" r:id="rId6"/>
    <p:sldId id="368" r:id="rId7"/>
    <p:sldId id="363" r:id="rId8"/>
    <p:sldId id="373" r:id="rId9"/>
    <p:sldId id="370" r:id="rId10"/>
    <p:sldId id="371" r:id="rId11"/>
    <p:sldId id="372" r:id="rId12"/>
    <p:sldId id="365" r:id="rId13"/>
    <p:sldId id="366" r:id="rId14"/>
    <p:sldId id="35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00B0F0"/>
    <a:srgbClr val="000000"/>
    <a:srgbClr val="333F50"/>
    <a:srgbClr val="FFFFFF"/>
    <a:srgbClr val="1B1464"/>
    <a:srgbClr val="004376"/>
    <a:srgbClr val="27AAE1"/>
    <a:srgbClr val="00A79D"/>
    <a:srgbClr val="2622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DB41DD-0A20-4257-BEDE-3CACA6E74354}" v="192" dt="2023-03-22T06:04:46.8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12" autoAdjust="0"/>
    <p:restoredTop sz="95324" autoAdjust="0"/>
  </p:normalViewPr>
  <p:slideViewPr>
    <p:cSldViewPr snapToGrid="0">
      <p:cViewPr varScale="1">
        <p:scale>
          <a:sx n="110" d="100"/>
          <a:sy n="110" d="100"/>
        </p:scale>
        <p:origin x="16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243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mal Karmakar" userId="8e0c0607-2d2c-4176-b180-031f8940f0c7" providerId="ADAL" clId="{55DB41DD-0A20-4257-BEDE-3CACA6E74354}"/>
    <pc:docChg chg="undo redo custSel addSld delSld modSld sldOrd">
      <pc:chgData name="Hemal Karmakar" userId="8e0c0607-2d2c-4176-b180-031f8940f0c7" providerId="ADAL" clId="{55DB41DD-0A20-4257-BEDE-3CACA6E74354}" dt="2023-03-23T01:43:33.673" v="6284" actId="1076"/>
      <pc:docMkLst>
        <pc:docMk/>
      </pc:docMkLst>
      <pc:sldChg chg="del">
        <pc:chgData name="Hemal Karmakar" userId="8e0c0607-2d2c-4176-b180-031f8940f0c7" providerId="ADAL" clId="{55DB41DD-0A20-4257-BEDE-3CACA6E74354}" dt="2023-03-19T04:35:20.886" v="956" actId="47"/>
        <pc:sldMkLst>
          <pc:docMk/>
          <pc:sldMk cId="738339400" sldId="257"/>
        </pc:sldMkLst>
      </pc:sldChg>
      <pc:sldChg chg="addSp delSp modSp mod modTransition">
        <pc:chgData name="Hemal Karmakar" userId="8e0c0607-2d2c-4176-b180-031f8940f0c7" providerId="ADAL" clId="{55DB41DD-0A20-4257-BEDE-3CACA6E74354}" dt="2023-03-22T06:32:29.236" v="6241" actId="207"/>
        <pc:sldMkLst>
          <pc:docMk/>
          <pc:sldMk cId="142094375" sldId="258"/>
        </pc:sldMkLst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3" creationId="{00000000-0000-0000-0000-000000000000}"/>
          </ac:spMkLst>
        </pc:spChg>
        <pc:spChg chg="add del mod">
          <ac:chgData name="Hemal Karmakar" userId="8e0c0607-2d2c-4176-b180-031f8940f0c7" providerId="ADAL" clId="{55DB41DD-0A20-4257-BEDE-3CACA6E74354}" dt="2023-03-19T02:30:27.501" v="101"/>
          <ac:spMkLst>
            <pc:docMk/>
            <pc:sldMk cId="142094375" sldId="258"/>
            <ac:spMk id="8" creationId="{00000000-0000-0000-0000-000000000000}"/>
          </ac:spMkLst>
        </pc:spChg>
        <pc:spChg chg="add del mod">
          <ac:chgData name="Hemal Karmakar" userId="8e0c0607-2d2c-4176-b180-031f8940f0c7" providerId="ADAL" clId="{55DB41DD-0A20-4257-BEDE-3CACA6E74354}" dt="2023-03-21T20:41:06" v="5034" actId="478"/>
          <ac:spMkLst>
            <pc:docMk/>
            <pc:sldMk cId="142094375" sldId="258"/>
            <ac:spMk id="8" creationId="{0D66295A-7B2B-9FA8-81DE-697254FD706F}"/>
          </ac:spMkLst>
        </pc:spChg>
        <pc:spChg chg="add del mod">
          <ac:chgData name="Hemal Karmakar" userId="8e0c0607-2d2c-4176-b180-031f8940f0c7" providerId="ADAL" clId="{55DB41DD-0A20-4257-BEDE-3CACA6E74354}" dt="2023-03-19T02:27:54.871" v="99" actId="478"/>
          <ac:spMkLst>
            <pc:docMk/>
            <pc:sldMk cId="142094375" sldId="258"/>
            <ac:spMk id="10" creationId="{B40EACA5-1226-1997-D2D4-C4154ED6E268}"/>
          </ac:spMkLst>
        </pc:spChg>
        <pc:spChg chg="add del mod">
          <ac:chgData name="Hemal Karmakar" userId="8e0c0607-2d2c-4176-b180-031f8940f0c7" providerId="ADAL" clId="{55DB41DD-0A20-4257-BEDE-3CACA6E74354}" dt="2023-03-21T20:41:15.136" v="5038" actId="478"/>
          <ac:spMkLst>
            <pc:docMk/>
            <pc:sldMk cId="142094375" sldId="258"/>
            <ac:spMk id="10" creationId="{CF735619-BA97-EA4A-610B-FFCF9FE7D032}"/>
          </ac:spMkLst>
        </pc:spChg>
        <pc:spChg chg="add 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1" creationId="{364E5D45-00F2-FEFB-1436-C7E8B3FFC032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3" creationId="{0CF843DB-D872-7408-DCDD-56A457154402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4" creationId="{1453FBB0-C8D2-659F-181D-A16AE9239AF7}"/>
          </ac:spMkLst>
        </pc:spChg>
        <pc:spChg chg="add 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5" creationId="{09BB47A5-5F43-BD0D-4A80-C83E89C9B27F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7" creationId="{F5A7BA52-3402-3357-7E32-C15A26401265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8" creationId="{16289211-CA93-40D1-5C7C-D185E2E1EEF6}"/>
          </ac:spMkLst>
        </pc:spChg>
        <pc:spChg chg="add 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19" creationId="{CA778943-0F98-EF62-CB2F-B4607FAE39D7}"/>
          </ac:spMkLst>
        </pc:spChg>
        <pc:spChg chg="add 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20" creationId="{485BCFE4-FF5B-A73F-4BD2-D46B93ECA592}"/>
          </ac:spMkLst>
        </pc:spChg>
        <pc:spChg chg="add 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22" creationId="{2B4F6C23-BCBE-4531-8FD8-996EC9584578}"/>
          </ac:spMkLst>
        </pc:spChg>
        <pc:spChg chg="add mod ord">
          <ac:chgData name="Hemal Karmakar" userId="8e0c0607-2d2c-4176-b180-031f8940f0c7" providerId="ADAL" clId="{55DB41DD-0A20-4257-BEDE-3CACA6E74354}" dt="2023-03-21T20:49:16.823" v="5150" actId="167"/>
          <ac:spMkLst>
            <pc:docMk/>
            <pc:sldMk cId="142094375" sldId="258"/>
            <ac:spMk id="23" creationId="{43D7B482-6FB0-6FA7-93FF-E5A195EA2C6F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2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2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3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3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4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5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5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2T06:28:50.430" v="6227" actId="20577"/>
          <ac:spMkLst>
            <pc:docMk/>
            <pc:sldMk cId="142094375" sldId="258"/>
            <ac:spMk id="5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2T06:32:29.236" v="6241" actId="207"/>
          <ac:spMkLst>
            <pc:docMk/>
            <pc:sldMk cId="142094375" sldId="258"/>
            <ac:spMk id="5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5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5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60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6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1T20:49:09.663" v="5149" actId="1076"/>
          <ac:spMkLst>
            <pc:docMk/>
            <pc:sldMk cId="142094375" sldId="258"/>
            <ac:spMk id="6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2T06:32:29.236" v="6241" actId="207"/>
          <ac:spMkLst>
            <pc:docMk/>
            <pc:sldMk cId="142094375" sldId="258"/>
            <ac:spMk id="63" creationId="{00000000-0000-0000-0000-000000000000}"/>
          </ac:spMkLst>
        </pc:spChg>
        <pc:grpChg chg="mod">
          <ac:chgData name="Hemal Karmakar" userId="8e0c0607-2d2c-4176-b180-031f8940f0c7" providerId="ADAL" clId="{55DB41DD-0A20-4257-BEDE-3CACA6E74354}" dt="2023-03-22T06:32:29.236" v="6241" actId="207"/>
          <ac:grpSpMkLst>
            <pc:docMk/>
            <pc:sldMk cId="142094375" sldId="258"/>
            <ac:grpSpMk id="4" creationId="{00000000-0000-0000-0000-000000000000}"/>
          </ac:grpSpMkLst>
        </pc:grpChg>
        <pc:grpChg chg="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5" creationId="{00000000-0000-0000-0000-000000000000}"/>
          </ac:grpSpMkLst>
        </pc:grpChg>
        <pc:grpChg chg="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6" creationId="{00000000-0000-0000-0000-000000000000}"/>
          </ac:grpSpMkLst>
        </pc:grpChg>
        <pc:grpChg chg="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7" creationId="{00000000-0000-0000-0000-000000000000}"/>
          </ac:grpSpMkLst>
        </pc:grpChg>
        <pc:grpChg chg="add 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12" creationId="{25C4B716-FF1A-2D24-690E-91BB17F80E88}"/>
          </ac:grpSpMkLst>
        </pc:grpChg>
        <pc:grpChg chg="add 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16" creationId="{D06115CF-112E-DD96-9CAE-F52CDBF1E286}"/>
          </ac:grpSpMkLst>
        </pc:grpChg>
        <pc:grpChg chg="mod">
          <ac:chgData name="Hemal Karmakar" userId="8e0c0607-2d2c-4176-b180-031f8940f0c7" providerId="ADAL" clId="{55DB41DD-0A20-4257-BEDE-3CACA6E74354}" dt="2023-03-21T20:49:09.663" v="5149" actId="1076"/>
          <ac:grpSpMkLst>
            <pc:docMk/>
            <pc:sldMk cId="142094375" sldId="258"/>
            <ac:grpSpMk id="27" creationId="{00000000-0000-0000-0000-000000000000}"/>
          </ac:grpSpMkLst>
        </pc:grpChg>
        <pc:picChg chg="add mod">
          <ac:chgData name="Hemal Karmakar" userId="8e0c0607-2d2c-4176-b180-031f8940f0c7" providerId="ADAL" clId="{55DB41DD-0A20-4257-BEDE-3CACA6E74354}" dt="2023-03-21T20:49:09.663" v="5149" actId="1076"/>
          <ac:picMkLst>
            <pc:docMk/>
            <pc:sldMk cId="142094375" sldId="258"/>
            <ac:picMk id="21" creationId="{78878F9E-2EB3-197C-FF5F-478765CF512F}"/>
          </ac:picMkLst>
        </pc:picChg>
        <pc:picChg chg="add del mod">
          <ac:chgData name="Hemal Karmakar" userId="8e0c0607-2d2c-4176-b180-031f8940f0c7" providerId="ADAL" clId="{55DB41DD-0A20-4257-BEDE-3CACA6E74354}" dt="2023-03-19T02:27:56.819" v="100"/>
          <ac:picMkLst>
            <pc:docMk/>
            <pc:sldMk cId="142094375" sldId="258"/>
            <ac:picMk id="1026" creationId="{D55D67D3-8C26-41D8-62D6-43D0820F9521}"/>
          </ac:picMkLst>
        </pc:picChg>
        <pc:picChg chg="add del mod">
          <ac:chgData name="Hemal Karmakar" userId="8e0c0607-2d2c-4176-b180-031f8940f0c7" providerId="ADAL" clId="{55DB41DD-0A20-4257-BEDE-3CACA6E74354}" dt="2023-03-21T20:45:13.738" v="5069" actId="478"/>
          <ac:picMkLst>
            <pc:docMk/>
            <pc:sldMk cId="142094375" sldId="258"/>
            <ac:picMk id="1026" creationId="{E2B9CF4A-A848-7F8E-162C-ACF6B474FE41}"/>
          </ac:picMkLst>
        </pc:picChg>
        <pc:picChg chg="add del mod">
          <ac:chgData name="Hemal Karmakar" userId="8e0c0607-2d2c-4176-b180-031f8940f0c7" providerId="ADAL" clId="{55DB41DD-0A20-4257-BEDE-3CACA6E74354}" dt="2023-03-21T20:41:13.026" v="5037" actId="478"/>
          <ac:picMkLst>
            <pc:docMk/>
            <pc:sldMk cId="142094375" sldId="258"/>
            <ac:picMk id="1028" creationId="{0BB621F8-7562-C36F-F117-A7FBDBA3B679}"/>
          </ac:picMkLst>
        </pc:picChg>
        <pc:cxnChg chg="mod">
          <ac:chgData name="Hemal Karmakar" userId="8e0c0607-2d2c-4176-b180-031f8940f0c7" providerId="ADAL" clId="{55DB41DD-0A20-4257-BEDE-3CACA6E74354}" dt="2023-03-21T20:49:09.663" v="5149" actId="1076"/>
          <ac:cxnSpMkLst>
            <pc:docMk/>
            <pc:sldMk cId="142094375" sldId="258"/>
            <ac:cxnSpMk id="9" creationId="{00000000-0000-0000-0000-000000000000}"/>
          </ac:cxnSpMkLst>
        </pc:cxnChg>
      </pc:sldChg>
      <pc:sldChg chg="del">
        <pc:chgData name="Hemal Karmakar" userId="8e0c0607-2d2c-4176-b180-031f8940f0c7" providerId="ADAL" clId="{55DB41DD-0A20-4257-BEDE-3CACA6E74354}" dt="2023-03-19T04:36:19.709" v="973" actId="47"/>
        <pc:sldMkLst>
          <pc:docMk/>
          <pc:sldMk cId="1156372491" sldId="262"/>
        </pc:sldMkLst>
      </pc:sldChg>
      <pc:sldChg chg="del">
        <pc:chgData name="Hemal Karmakar" userId="8e0c0607-2d2c-4176-b180-031f8940f0c7" providerId="ADAL" clId="{55DB41DD-0A20-4257-BEDE-3CACA6E74354}" dt="2023-03-19T17:48:12.942" v="3577" actId="47"/>
        <pc:sldMkLst>
          <pc:docMk/>
          <pc:sldMk cId="4040517893" sldId="265"/>
        </pc:sldMkLst>
      </pc:sldChg>
      <pc:sldChg chg="del">
        <pc:chgData name="Hemal Karmakar" userId="8e0c0607-2d2c-4176-b180-031f8940f0c7" providerId="ADAL" clId="{55DB41DD-0A20-4257-BEDE-3CACA6E74354}" dt="2023-03-19T17:48:13.967" v="3578" actId="47"/>
        <pc:sldMkLst>
          <pc:docMk/>
          <pc:sldMk cId="2390356702" sldId="266"/>
        </pc:sldMkLst>
      </pc:sldChg>
      <pc:sldChg chg="del">
        <pc:chgData name="Hemal Karmakar" userId="8e0c0607-2d2c-4176-b180-031f8940f0c7" providerId="ADAL" clId="{55DB41DD-0A20-4257-BEDE-3CACA6E74354}" dt="2023-03-19T04:37:02.121" v="977" actId="47"/>
        <pc:sldMkLst>
          <pc:docMk/>
          <pc:sldMk cId="3746505080" sldId="267"/>
        </pc:sldMkLst>
      </pc:sldChg>
      <pc:sldChg chg="del">
        <pc:chgData name="Hemal Karmakar" userId="8e0c0607-2d2c-4176-b180-031f8940f0c7" providerId="ADAL" clId="{55DB41DD-0A20-4257-BEDE-3CACA6E74354}" dt="2023-03-19T17:48:14.882" v="3579" actId="47"/>
        <pc:sldMkLst>
          <pc:docMk/>
          <pc:sldMk cId="4022594248" sldId="270"/>
        </pc:sldMkLst>
      </pc:sldChg>
      <pc:sldChg chg="del">
        <pc:chgData name="Hemal Karmakar" userId="8e0c0607-2d2c-4176-b180-031f8940f0c7" providerId="ADAL" clId="{55DB41DD-0A20-4257-BEDE-3CACA6E74354}" dt="2023-03-19T04:37:07.799" v="979" actId="47"/>
        <pc:sldMkLst>
          <pc:docMk/>
          <pc:sldMk cId="2436655712" sldId="271"/>
        </pc:sldMkLst>
      </pc:sldChg>
      <pc:sldChg chg="del">
        <pc:chgData name="Hemal Karmakar" userId="8e0c0607-2d2c-4176-b180-031f8940f0c7" providerId="ADAL" clId="{55DB41DD-0A20-4257-BEDE-3CACA6E74354}" dt="2023-03-19T04:35:26.324" v="957" actId="47"/>
        <pc:sldMkLst>
          <pc:docMk/>
          <pc:sldMk cId="1873124032" sldId="272"/>
        </pc:sldMkLst>
      </pc:sldChg>
      <pc:sldChg chg="del">
        <pc:chgData name="Hemal Karmakar" userId="8e0c0607-2d2c-4176-b180-031f8940f0c7" providerId="ADAL" clId="{55DB41DD-0A20-4257-BEDE-3CACA6E74354}" dt="2023-03-19T02:20:09.333" v="79" actId="47"/>
        <pc:sldMkLst>
          <pc:docMk/>
          <pc:sldMk cId="3402319513" sldId="274"/>
        </pc:sldMkLst>
      </pc:sldChg>
      <pc:sldChg chg="del">
        <pc:chgData name="Hemal Karmakar" userId="8e0c0607-2d2c-4176-b180-031f8940f0c7" providerId="ADAL" clId="{55DB41DD-0A20-4257-BEDE-3CACA6E74354}" dt="2023-03-19T17:48:08.359" v="3571" actId="47"/>
        <pc:sldMkLst>
          <pc:docMk/>
          <pc:sldMk cId="363637691" sldId="279"/>
        </pc:sldMkLst>
      </pc:sldChg>
      <pc:sldChg chg="del">
        <pc:chgData name="Hemal Karmakar" userId="8e0c0607-2d2c-4176-b180-031f8940f0c7" providerId="ADAL" clId="{55DB41DD-0A20-4257-BEDE-3CACA6E74354}" dt="2023-03-19T04:37:13.041" v="982" actId="47"/>
        <pc:sldMkLst>
          <pc:docMk/>
          <pc:sldMk cId="3265494137" sldId="280"/>
        </pc:sldMkLst>
      </pc:sldChg>
      <pc:sldChg chg="del">
        <pc:chgData name="Hemal Karmakar" userId="8e0c0607-2d2c-4176-b180-031f8940f0c7" providerId="ADAL" clId="{55DB41DD-0A20-4257-BEDE-3CACA6E74354}" dt="2023-03-19T17:48:10.674" v="3575" actId="47"/>
        <pc:sldMkLst>
          <pc:docMk/>
          <pc:sldMk cId="2018543141" sldId="281"/>
        </pc:sldMkLst>
      </pc:sldChg>
      <pc:sldChg chg="del">
        <pc:chgData name="Hemal Karmakar" userId="8e0c0607-2d2c-4176-b180-031f8940f0c7" providerId="ADAL" clId="{55DB41DD-0A20-4257-BEDE-3CACA6E74354}" dt="2023-03-19T04:35:46.424" v="966" actId="47"/>
        <pc:sldMkLst>
          <pc:docMk/>
          <pc:sldMk cId="2136477279" sldId="282"/>
        </pc:sldMkLst>
      </pc:sldChg>
      <pc:sldChg chg="del">
        <pc:chgData name="Hemal Karmakar" userId="8e0c0607-2d2c-4176-b180-031f8940f0c7" providerId="ADAL" clId="{55DB41DD-0A20-4257-BEDE-3CACA6E74354}" dt="2023-03-19T04:35:27.614" v="958" actId="47"/>
        <pc:sldMkLst>
          <pc:docMk/>
          <pc:sldMk cId="2862931098" sldId="285"/>
        </pc:sldMkLst>
      </pc:sldChg>
      <pc:sldChg chg="del">
        <pc:chgData name="Hemal Karmakar" userId="8e0c0607-2d2c-4176-b180-031f8940f0c7" providerId="ADAL" clId="{55DB41DD-0A20-4257-BEDE-3CACA6E74354}" dt="2023-03-19T04:35:29.543" v="959" actId="47"/>
        <pc:sldMkLst>
          <pc:docMk/>
          <pc:sldMk cId="3973299786" sldId="286"/>
        </pc:sldMkLst>
      </pc:sldChg>
      <pc:sldChg chg="del">
        <pc:chgData name="Hemal Karmakar" userId="8e0c0607-2d2c-4176-b180-031f8940f0c7" providerId="ADAL" clId="{55DB41DD-0A20-4257-BEDE-3CACA6E74354}" dt="2023-03-19T04:37:11.310" v="981" actId="47"/>
        <pc:sldMkLst>
          <pc:docMk/>
          <pc:sldMk cId="4134011872" sldId="287"/>
        </pc:sldMkLst>
      </pc:sldChg>
      <pc:sldChg chg="del">
        <pc:chgData name="Hemal Karmakar" userId="8e0c0607-2d2c-4176-b180-031f8940f0c7" providerId="ADAL" clId="{55DB41DD-0A20-4257-BEDE-3CACA6E74354}" dt="2023-03-19T04:37:14.410" v="983" actId="47"/>
        <pc:sldMkLst>
          <pc:docMk/>
          <pc:sldMk cId="1325510278" sldId="288"/>
        </pc:sldMkLst>
      </pc:sldChg>
      <pc:sldChg chg="addSp delSp modSp del mod">
        <pc:chgData name="Hemal Karmakar" userId="8e0c0607-2d2c-4176-b180-031f8940f0c7" providerId="ADAL" clId="{55DB41DD-0A20-4257-BEDE-3CACA6E74354}" dt="2023-03-19T17:48:09.729" v="3572" actId="47"/>
        <pc:sldMkLst>
          <pc:docMk/>
          <pc:sldMk cId="1618437474" sldId="289"/>
        </pc:sldMkLst>
        <pc:spChg chg="add del mod">
          <ac:chgData name="Hemal Karmakar" userId="8e0c0607-2d2c-4176-b180-031f8940f0c7" providerId="ADAL" clId="{55DB41DD-0A20-4257-BEDE-3CACA6E74354}" dt="2023-03-19T17:15:03.942" v="2435" actId="1076"/>
          <ac:spMkLst>
            <pc:docMk/>
            <pc:sldMk cId="1618437474" sldId="289"/>
            <ac:spMk id="6" creationId="{00000000-0000-0000-0000-000000000000}"/>
          </ac:spMkLst>
        </pc:spChg>
      </pc:sldChg>
      <pc:sldChg chg="del">
        <pc:chgData name="Hemal Karmakar" userId="8e0c0607-2d2c-4176-b180-031f8940f0c7" providerId="ADAL" clId="{55DB41DD-0A20-4257-BEDE-3CACA6E74354}" dt="2023-03-19T17:48:09.946" v="3573" actId="47"/>
        <pc:sldMkLst>
          <pc:docMk/>
          <pc:sldMk cId="932966274" sldId="290"/>
        </pc:sldMkLst>
      </pc:sldChg>
      <pc:sldChg chg="del">
        <pc:chgData name="Hemal Karmakar" userId="8e0c0607-2d2c-4176-b180-031f8940f0c7" providerId="ADAL" clId="{55DB41DD-0A20-4257-BEDE-3CACA6E74354}" dt="2023-03-19T04:35:45.112" v="965" actId="47"/>
        <pc:sldMkLst>
          <pc:docMk/>
          <pc:sldMk cId="169174786" sldId="292"/>
        </pc:sldMkLst>
      </pc:sldChg>
      <pc:sldChg chg="del">
        <pc:chgData name="Hemal Karmakar" userId="8e0c0607-2d2c-4176-b180-031f8940f0c7" providerId="ADAL" clId="{55DB41DD-0A20-4257-BEDE-3CACA6E74354}" dt="2023-03-19T17:48:20.502" v="3583" actId="47"/>
        <pc:sldMkLst>
          <pc:docMk/>
          <pc:sldMk cId="2212563505" sldId="294"/>
        </pc:sldMkLst>
      </pc:sldChg>
      <pc:sldChg chg="del">
        <pc:chgData name="Hemal Karmakar" userId="8e0c0607-2d2c-4176-b180-031f8940f0c7" providerId="ADAL" clId="{55DB41DD-0A20-4257-BEDE-3CACA6E74354}" dt="2023-03-19T04:35:19.801" v="955" actId="47"/>
        <pc:sldMkLst>
          <pc:docMk/>
          <pc:sldMk cId="4158046043" sldId="295"/>
        </pc:sldMkLst>
      </pc:sldChg>
      <pc:sldChg chg="del">
        <pc:chgData name="Hemal Karmakar" userId="8e0c0607-2d2c-4176-b180-031f8940f0c7" providerId="ADAL" clId="{55DB41DD-0A20-4257-BEDE-3CACA6E74354}" dt="2023-03-19T04:35:15.403" v="952" actId="47"/>
        <pc:sldMkLst>
          <pc:docMk/>
          <pc:sldMk cId="1580942365" sldId="298"/>
        </pc:sldMkLst>
      </pc:sldChg>
      <pc:sldChg chg="del">
        <pc:chgData name="Hemal Karmakar" userId="8e0c0607-2d2c-4176-b180-031f8940f0c7" providerId="ADAL" clId="{55DB41DD-0A20-4257-BEDE-3CACA6E74354}" dt="2023-03-19T04:35:18.027" v="954" actId="47"/>
        <pc:sldMkLst>
          <pc:docMk/>
          <pc:sldMk cId="1847446951" sldId="301"/>
        </pc:sldMkLst>
      </pc:sldChg>
      <pc:sldChg chg="del">
        <pc:chgData name="Hemal Karmakar" userId="8e0c0607-2d2c-4176-b180-031f8940f0c7" providerId="ADAL" clId="{55DB41DD-0A20-4257-BEDE-3CACA6E74354}" dt="2023-03-19T04:35:30.398" v="960" actId="47"/>
        <pc:sldMkLst>
          <pc:docMk/>
          <pc:sldMk cId="2299173954" sldId="302"/>
        </pc:sldMkLst>
      </pc:sldChg>
      <pc:sldChg chg="del">
        <pc:chgData name="Hemal Karmakar" userId="8e0c0607-2d2c-4176-b180-031f8940f0c7" providerId="ADAL" clId="{55DB41DD-0A20-4257-BEDE-3CACA6E74354}" dt="2023-03-19T04:36:13.013" v="970" actId="47"/>
        <pc:sldMkLst>
          <pc:docMk/>
          <pc:sldMk cId="949895056" sldId="303"/>
        </pc:sldMkLst>
      </pc:sldChg>
      <pc:sldChg chg="del">
        <pc:chgData name="Hemal Karmakar" userId="8e0c0607-2d2c-4176-b180-031f8940f0c7" providerId="ADAL" clId="{55DB41DD-0A20-4257-BEDE-3CACA6E74354}" dt="2023-03-19T04:35:53.120" v="969" actId="47"/>
        <pc:sldMkLst>
          <pc:docMk/>
          <pc:sldMk cId="1991628371" sldId="304"/>
        </pc:sldMkLst>
      </pc:sldChg>
      <pc:sldChg chg="del">
        <pc:chgData name="Hemal Karmakar" userId="8e0c0607-2d2c-4176-b180-031f8940f0c7" providerId="ADAL" clId="{55DB41DD-0A20-4257-BEDE-3CACA6E74354}" dt="2023-03-19T04:35:47.370" v="967" actId="47"/>
        <pc:sldMkLst>
          <pc:docMk/>
          <pc:sldMk cId="324260305" sldId="305"/>
        </pc:sldMkLst>
      </pc:sldChg>
      <pc:sldChg chg="del">
        <pc:chgData name="Hemal Karmakar" userId="8e0c0607-2d2c-4176-b180-031f8940f0c7" providerId="ADAL" clId="{55DB41DD-0A20-4257-BEDE-3CACA6E74354}" dt="2023-03-19T04:35:40.739" v="963" actId="47"/>
        <pc:sldMkLst>
          <pc:docMk/>
          <pc:sldMk cId="83859568" sldId="306"/>
        </pc:sldMkLst>
      </pc:sldChg>
      <pc:sldChg chg="del">
        <pc:chgData name="Hemal Karmakar" userId="8e0c0607-2d2c-4176-b180-031f8940f0c7" providerId="ADAL" clId="{55DB41DD-0A20-4257-BEDE-3CACA6E74354}" dt="2023-03-19T04:37:09.652" v="980" actId="47"/>
        <pc:sldMkLst>
          <pc:docMk/>
          <pc:sldMk cId="3056689493" sldId="307"/>
        </pc:sldMkLst>
      </pc:sldChg>
      <pc:sldChg chg="del">
        <pc:chgData name="Hemal Karmakar" userId="8e0c0607-2d2c-4176-b180-031f8940f0c7" providerId="ADAL" clId="{55DB41DD-0A20-4257-BEDE-3CACA6E74354}" dt="2023-03-19T04:34:05.597" v="929" actId="47"/>
        <pc:sldMkLst>
          <pc:docMk/>
          <pc:sldMk cId="1539678221" sldId="308"/>
        </pc:sldMkLst>
      </pc:sldChg>
      <pc:sldChg chg="del">
        <pc:chgData name="Hemal Karmakar" userId="8e0c0607-2d2c-4176-b180-031f8940f0c7" providerId="ADAL" clId="{55DB41DD-0A20-4257-BEDE-3CACA6E74354}" dt="2023-03-19T04:37:25.051" v="987" actId="47"/>
        <pc:sldMkLst>
          <pc:docMk/>
          <pc:sldMk cId="3925446052" sldId="309"/>
        </pc:sldMkLst>
      </pc:sldChg>
      <pc:sldChg chg="del">
        <pc:chgData name="Hemal Karmakar" userId="8e0c0607-2d2c-4176-b180-031f8940f0c7" providerId="ADAL" clId="{55DB41DD-0A20-4257-BEDE-3CACA6E74354}" dt="2023-03-19T04:37:21.872" v="984" actId="47"/>
        <pc:sldMkLst>
          <pc:docMk/>
          <pc:sldMk cId="2993899216" sldId="310"/>
        </pc:sldMkLst>
      </pc:sldChg>
      <pc:sldChg chg="del">
        <pc:chgData name="Hemal Karmakar" userId="8e0c0607-2d2c-4176-b180-031f8940f0c7" providerId="ADAL" clId="{55DB41DD-0A20-4257-BEDE-3CACA6E74354}" dt="2023-03-19T04:35:39.760" v="962" actId="47"/>
        <pc:sldMkLst>
          <pc:docMk/>
          <pc:sldMk cId="3627757238" sldId="311"/>
        </pc:sldMkLst>
      </pc:sldChg>
      <pc:sldChg chg="del">
        <pc:chgData name="Hemal Karmakar" userId="8e0c0607-2d2c-4176-b180-031f8940f0c7" providerId="ADAL" clId="{55DB41DD-0A20-4257-BEDE-3CACA6E74354}" dt="2023-03-19T04:37:22.815" v="985" actId="47"/>
        <pc:sldMkLst>
          <pc:docMk/>
          <pc:sldMk cId="3945784075" sldId="312"/>
        </pc:sldMkLst>
      </pc:sldChg>
      <pc:sldChg chg="del">
        <pc:chgData name="Hemal Karmakar" userId="8e0c0607-2d2c-4176-b180-031f8940f0c7" providerId="ADAL" clId="{55DB41DD-0A20-4257-BEDE-3CACA6E74354}" dt="2023-03-19T04:36:21.814" v="974" actId="47"/>
        <pc:sldMkLst>
          <pc:docMk/>
          <pc:sldMk cId="3425243878" sldId="315"/>
        </pc:sldMkLst>
      </pc:sldChg>
      <pc:sldChg chg="del">
        <pc:chgData name="Hemal Karmakar" userId="8e0c0607-2d2c-4176-b180-031f8940f0c7" providerId="ADAL" clId="{55DB41DD-0A20-4257-BEDE-3CACA6E74354}" dt="2023-03-19T04:37:24.107" v="986" actId="47"/>
        <pc:sldMkLst>
          <pc:docMk/>
          <pc:sldMk cId="2521455725" sldId="316"/>
        </pc:sldMkLst>
      </pc:sldChg>
      <pc:sldChg chg="del">
        <pc:chgData name="Hemal Karmakar" userId="8e0c0607-2d2c-4176-b180-031f8940f0c7" providerId="ADAL" clId="{55DB41DD-0A20-4257-BEDE-3CACA6E74354}" dt="2023-03-19T04:37:30.260" v="989" actId="47"/>
        <pc:sldMkLst>
          <pc:docMk/>
          <pc:sldMk cId="2909212067" sldId="317"/>
        </pc:sldMkLst>
      </pc:sldChg>
      <pc:sldChg chg="del">
        <pc:chgData name="Hemal Karmakar" userId="8e0c0607-2d2c-4176-b180-031f8940f0c7" providerId="ADAL" clId="{55DB41DD-0A20-4257-BEDE-3CACA6E74354}" dt="2023-03-19T17:48:18.057" v="3580" actId="47"/>
        <pc:sldMkLst>
          <pc:docMk/>
          <pc:sldMk cId="709173892" sldId="318"/>
        </pc:sldMkLst>
      </pc:sldChg>
      <pc:sldChg chg="modSp del">
        <pc:chgData name="Hemal Karmakar" userId="8e0c0607-2d2c-4176-b180-031f8940f0c7" providerId="ADAL" clId="{55DB41DD-0A20-4257-BEDE-3CACA6E74354}" dt="2023-03-19T17:48:18.975" v="3581" actId="47"/>
        <pc:sldMkLst>
          <pc:docMk/>
          <pc:sldMk cId="702129661" sldId="319"/>
        </pc:sldMkLst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695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69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69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0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6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0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0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5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6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1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0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5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6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8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29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0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3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4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17:10:22.567" v="2428" actId="1076"/>
          <ac:spMkLst>
            <pc:docMk/>
            <pc:sldMk cId="702129661" sldId="319"/>
            <ac:spMk id="735" creationId="{00000000-0000-0000-0000-000000000000}"/>
          </ac:spMkLst>
        </pc:spChg>
        <pc:grpChg chg="mod">
          <ac:chgData name="Hemal Karmakar" userId="8e0c0607-2d2c-4176-b180-031f8940f0c7" providerId="ADAL" clId="{55DB41DD-0A20-4257-BEDE-3CACA6E74354}" dt="2023-03-19T17:10:22.567" v="2428" actId="1076"/>
          <ac:grpSpMkLst>
            <pc:docMk/>
            <pc:sldMk cId="702129661" sldId="319"/>
            <ac:grpSpMk id="694" creationId="{00000000-0000-0000-0000-000000000000}"/>
          </ac:grpSpMkLst>
        </pc:grpChg>
        <pc:picChg chg="mod">
          <ac:chgData name="Hemal Karmakar" userId="8e0c0607-2d2c-4176-b180-031f8940f0c7" providerId="ADAL" clId="{55DB41DD-0A20-4257-BEDE-3CACA6E74354}" dt="2023-03-19T17:10:22.567" v="2428" actId="1076"/>
          <ac:picMkLst>
            <pc:docMk/>
            <pc:sldMk cId="702129661" sldId="319"/>
            <ac:picMk id="696" creationId="{00000000-0000-0000-0000-000000000000}"/>
          </ac:picMkLst>
        </pc:picChg>
      </pc:sldChg>
      <pc:sldChg chg="del">
        <pc:chgData name="Hemal Karmakar" userId="8e0c0607-2d2c-4176-b180-031f8940f0c7" providerId="ADAL" clId="{55DB41DD-0A20-4257-BEDE-3CACA6E74354}" dt="2023-03-19T17:48:19.759" v="3582" actId="47"/>
        <pc:sldMkLst>
          <pc:docMk/>
          <pc:sldMk cId="364125172" sldId="320"/>
        </pc:sldMkLst>
      </pc:sldChg>
      <pc:sldChg chg="del">
        <pc:chgData name="Hemal Karmakar" userId="8e0c0607-2d2c-4176-b180-031f8940f0c7" providerId="ADAL" clId="{55DB41DD-0A20-4257-BEDE-3CACA6E74354}" dt="2023-03-19T04:37:32.936" v="991" actId="47"/>
        <pc:sldMkLst>
          <pc:docMk/>
          <pc:sldMk cId="1014022377" sldId="321"/>
        </pc:sldMkLst>
      </pc:sldChg>
      <pc:sldChg chg="del">
        <pc:chgData name="Hemal Karmakar" userId="8e0c0607-2d2c-4176-b180-031f8940f0c7" providerId="ADAL" clId="{55DB41DD-0A20-4257-BEDE-3CACA6E74354}" dt="2023-03-19T04:34:17.029" v="934" actId="47"/>
        <pc:sldMkLst>
          <pc:docMk/>
          <pc:sldMk cId="4070989984" sldId="322"/>
        </pc:sldMkLst>
      </pc:sldChg>
      <pc:sldChg chg="del">
        <pc:chgData name="Hemal Karmakar" userId="8e0c0607-2d2c-4176-b180-031f8940f0c7" providerId="ADAL" clId="{55DB41DD-0A20-4257-BEDE-3CACA6E74354}" dt="2023-03-19T04:37:26.866" v="988" actId="47"/>
        <pc:sldMkLst>
          <pc:docMk/>
          <pc:sldMk cId="1661069155" sldId="323"/>
        </pc:sldMkLst>
      </pc:sldChg>
      <pc:sldChg chg="del">
        <pc:chgData name="Hemal Karmakar" userId="8e0c0607-2d2c-4176-b180-031f8940f0c7" providerId="ADAL" clId="{55DB41DD-0A20-4257-BEDE-3CACA6E74354}" dt="2023-03-19T04:34:19.183" v="935" actId="47"/>
        <pc:sldMkLst>
          <pc:docMk/>
          <pc:sldMk cId="4228792697" sldId="324"/>
        </pc:sldMkLst>
      </pc:sldChg>
      <pc:sldChg chg="del">
        <pc:chgData name="Hemal Karmakar" userId="8e0c0607-2d2c-4176-b180-031f8940f0c7" providerId="ADAL" clId="{55DB41DD-0A20-4257-BEDE-3CACA6E74354}" dt="2023-03-19T04:34:20.967" v="936" actId="47"/>
        <pc:sldMkLst>
          <pc:docMk/>
          <pc:sldMk cId="882348321" sldId="326"/>
        </pc:sldMkLst>
      </pc:sldChg>
      <pc:sldChg chg="del">
        <pc:chgData name="Hemal Karmakar" userId="8e0c0607-2d2c-4176-b180-031f8940f0c7" providerId="ADAL" clId="{55DB41DD-0A20-4257-BEDE-3CACA6E74354}" dt="2023-03-19T04:34:24.961" v="940" actId="47"/>
        <pc:sldMkLst>
          <pc:docMk/>
          <pc:sldMk cId="384638962" sldId="328"/>
        </pc:sldMkLst>
      </pc:sldChg>
      <pc:sldChg chg="del">
        <pc:chgData name="Hemal Karmakar" userId="8e0c0607-2d2c-4176-b180-031f8940f0c7" providerId="ADAL" clId="{55DB41DD-0A20-4257-BEDE-3CACA6E74354}" dt="2023-03-19T04:34:23.776" v="939" actId="47"/>
        <pc:sldMkLst>
          <pc:docMk/>
          <pc:sldMk cId="3706832354" sldId="329"/>
        </pc:sldMkLst>
      </pc:sldChg>
      <pc:sldChg chg="del">
        <pc:chgData name="Hemal Karmakar" userId="8e0c0607-2d2c-4176-b180-031f8940f0c7" providerId="ADAL" clId="{55DB41DD-0A20-4257-BEDE-3CACA6E74354}" dt="2023-03-19T04:34:36.106" v="943" actId="47"/>
        <pc:sldMkLst>
          <pc:docMk/>
          <pc:sldMk cId="1584514318" sldId="330"/>
        </pc:sldMkLst>
      </pc:sldChg>
      <pc:sldChg chg="del">
        <pc:chgData name="Hemal Karmakar" userId="8e0c0607-2d2c-4176-b180-031f8940f0c7" providerId="ADAL" clId="{55DB41DD-0A20-4257-BEDE-3CACA6E74354}" dt="2023-03-19T04:34:25.531" v="941" actId="47"/>
        <pc:sldMkLst>
          <pc:docMk/>
          <pc:sldMk cId="162838831" sldId="331"/>
        </pc:sldMkLst>
      </pc:sldChg>
      <pc:sldChg chg="del">
        <pc:chgData name="Hemal Karmakar" userId="8e0c0607-2d2c-4176-b180-031f8940f0c7" providerId="ADAL" clId="{55DB41DD-0A20-4257-BEDE-3CACA6E74354}" dt="2023-03-19T04:34:39.015" v="945" actId="47"/>
        <pc:sldMkLst>
          <pc:docMk/>
          <pc:sldMk cId="1512555018" sldId="332"/>
        </pc:sldMkLst>
      </pc:sldChg>
      <pc:sldChg chg="del">
        <pc:chgData name="Hemal Karmakar" userId="8e0c0607-2d2c-4176-b180-031f8940f0c7" providerId="ADAL" clId="{55DB41DD-0A20-4257-BEDE-3CACA6E74354}" dt="2023-03-19T04:34:26.026" v="942" actId="47"/>
        <pc:sldMkLst>
          <pc:docMk/>
          <pc:sldMk cId="4133713401" sldId="333"/>
        </pc:sldMkLst>
      </pc:sldChg>
      <pc:sldChg chg="del">
        <pc:chgData name="Hemal Karmakar" userId="8e0c0607-2d2c-4176-b180-031f8940f0c7" providerId="ADAL" clId="{55DB41DD-0A20-4257-BEDE-3CACA6E74354}" dt="2023-03-19T04:34:37.751" v="944" actId="47"/>
        <pc:sldMkLst>
          <pc:docMk/>
          <pc:sldMk cId="550621096" sldId="334"/>
        </pc:sldMkLst>
      </pc:sldChg>
      <pc:sldChg chg="del">
        <pc:chgData name="Hemal Karmakar" userId="8e0c0607-2d2c-4176-b180-031f8940f0c7" providerId="ADAL" clId="{55DB41DD-0A20-4257-BEDE-3CACA6E74354}" dt="2023-03-19T04:34:13.614" v="932" actId="47"/>
        <pc:sldMkLst>
          <pc:docMk/>
          <pc:sldMk cId="1319232847" sldId="335"/>
        </pc:sldMkLst>
      </pc:sldChg>
      <pc:sldChg chg="del">
        <pc:chgData name="Hemal Karmakar" userId="8e0c0607-2d2c-4176-b180-031f8940f0c7" providerId="ADAL" clId="{55DB41DD-0A20-4257-BEDE-3CACA6E74354}" dt="2023-03-19T04:34:40.001" v="946" actId="47"/>
        <pc:sldMkLst>
          <pc:docMk/>
          <pc:sldMk cId="1420191366" sldId="336"/>
        </pc:sldMkLst>
      </pc:sldChg>
      <pc:sldChg chg="del">
        <pc:chgData name="Hemal Karmakar" userId="8e0c0607-2d2c-4176-b180-031f8940f0c7" providerId="ADAL" clId="{55DB41DD-0A20-4257-BEDE-3CACA6E74354}" dt="2023-03-19T04:34:40.660" v="947" actId="47"/>
        <pc:sldMkLst>
          <pc:docMk/>
          <pc:sldMk cId="3125932425" sldId="337"/>
        </pc:sldMkLst>
      </pc:sldChg>
      <pc:sldChg chg="del">
        <pc:chgData name="Hemal Karmakar" userId="8e0c0607-2d2c-4176-b180-031f8940f0c7" providerId="ADAL" clId="{55DB41DD-0A20-4257-BEDE-3CACA6E74354}" dt="2023-03-19T04:34:41.430" v="948" actId="47"/>
        <pc:sldMkLst>
          <pc:docMk/>
          <pc:sldMk cId="2386221873" sldId="338"/>
        </pc:sldMkLst>
      </pc:sldChg>
      <pc:sldChg chg="del">
        <pc:chgData name="Hemal Karmakar" userId="8e0c0607-2d2c-4176-b180-031f8940f0c7" providerId="ADAL" clId="{55DB41DD-0A20-4257-BEDE-3CACA6E74354}" dt="2023-03-19T04:35:02.777" v="949" actId="47"/>
        <pc:sldMkLst>
          <pc:docMk/>
          <pc:sldMk cId="3892328073" sldId="339"/>
        </pc:sldMkLst>
      </pc:sldChg>
      <pc:sldChg chg="del">
        <pc:chgData name="Hemal Karmakar" userId="8e0c0607-2d2c-4176-b180-031f8940f0c7" providerId="ADAL" clId="{55DB41DD-0A20-4257-BEDE-3CACA6E74354}" dt="2023-03-19T04:33:59.289" v="928" actId="47"/>
        <pc:sldMkLst>
          <pc:docMk/>
          <pc:sldMk cId="3617916069" sldId="340"/>
        </pc:sldMkLst>
      </pc:sldChg>
      <pc:sldChg chg="del">
        <pc:chgData name="Hemal Karmakar" userId="8e0c0607-2d2c-4176-b180-031f8940f0c7" providerId="ADAL" clId="{55DB41DD-0A20-4257-BEDE-3CACA6E74354}" dt="2023-03-19T04:33:57.725" v="927" actId="47"/>
        <pc:sldMkLst>
          <pc:docMk/>
          <pc:sldMk cId="1111846285" sldId="341"/>
        </pc:sldMkLst>
      </pc:sldChg>
      <pc:sldChg chg="del">
        <pc:chgData name="Hemal Karmakar" userId="8e0c0607-2d2c-4176-b180-031f8940f0c7" providerId="ADAL" clId="{55DB41DD-0A20-4257-BEDE-3CACA6E74354}" dt="2023-03-19T04:35:43.439" v="964" actId="47"/>
        <pc:sldMkLst>
          <pc:docMk/>
          <pc:sldMk cId="2382250327" sldId="342"/>
        </pc:sldMkLst>
      </pc:sldChg>
      <pc:sldChg chg="del">
        <pc:chgData name="Hemal Karmakar" userId="8e0c0607-2d2c-4176-b180-031f8940f0c7" providerId="ADAL" clId="{55DB41DD-0A20-4257-BEDE-3CACA6E74354}" dt="2023-03-19T02:19:51.108" v="78" actId="47"/>
        <pc:sldMkLst>
          <pc:docMk/>
          <pc:sldMk cId="769543864" sldId="346"/>
        </pc:sldMkLst>
      </pc:sldChg>
      <pc:sldChg chg="del">
        <pc:chgData name="Hemal Karmakar" userId="8e0c0607-2d2c-4176-b180-031f8940f0c7" providerId="ADAL" clId="{55DB41DD-0A20-4257-BEDE-3CACA6E74354}" dt="2023-03-19T17:48:10.291" v="3574" actId="47"/>
        <pc:sldMkLst>
          <pc:docMk/>
          <pc:sldMk cId="3596727931" sldId="347"/>
        </pc:sldMkLst>
      </pc:sldChg>
      <pc:sldChg chg="del">
        <pc:chgData name="Hemal Karmakar" userId="8e0c0607-2d2c-4176-b180-031f8940f0c7" providerId="ADAL" clId="{55DB41DD-0A20-4257-BEDE-3CACA6E74354}" dt="2023-03-19T04:35:50.510" v="968" actId="47"/>
        <pc:sldMkLst>
          <pc:docMk/>
          <pc:sldMk cId="447117919" sldId="348"/>
        </pc:sldMkLst>
      </pc:sldChg>
      <pc:sldChg chg="addSp modSp del mod ord">
        <pc:chgData name="Hemal Karmakar" userId="8e0c0607-2d2c-4176-b180-031f8940f0c7" providerId="ADAL" clId="{55DB41DD-0A20-4257-BEDE-3CACA6E74354}" dt="2023-03-19T05:55:43.753" v="2083" actId="47"/>
        <pc:sldMkLst>
          <pc:docMk/>
          <pc:sldMk cId="2860987020" sldId="349"/>
        </pc:sldMkLst>
        <pc:spChg chg="mod">
          <ac:chgData name="Hemal Karmakar" userId="8e0c0607-2d2c-4176-b180-031f8940f0c7" providerId="ADAL" clId="{55DB41DD-0A20-4257-BEDE-3CACA6E74354}" dt="2023-03-19T05:33:32.770" v="1642"/>
          <ac:spMkLst>
            <pc:docMk/>
            <pc:sldMk cId="2860987020" sldId="349"/>
            <ac:spMk id="8" creationId="{4023B5B4-943A-D7E5-C3B3-D6B9C9E133B3}"/>
          </ac:spMkLst>
        </pc:spChg>
        <pc:grpChg chg="add mod">
          <ac:chgData name="Hemal Karmakar" userId="8e0c0607-2d2c-4176-b180-031f8940f0c7" providerId="ADAL" clId="{55DB41DD-0A20-4257-BEDE-3CACA6E74354}" dt="2023-03-19T05:33:37.494" v="1643" actId="1076"/>
          <ac:grpSpMkLst>
            <pc:docMk/>
            <pc:sldMk cId="2860987020" sldId="349"/>
            <ac:grpSpMk id="2" creationId="{33620677-F2C8-312C-E6F5-0C056A52ECAA}"/>
          </ac:grpSpMkLst>
        </pc:grpChg>
        <pc:picChg chg="mod">
          <ac:chgData name="Hemal Karmakar" userId="8e0c0607-2d2c-4176-b180-031f8940f0c7" providerId="ADAL" clId="{55DB41DD-0A20-4257-BEDE-3CACA6E74354}" dt="2023-03-19T05:33:32.770" v="1642"/>
          <ac:picMkLst>
            <pc:docMk/>
            <pc:sldMk cId="2860987020" sldId="349"/>
            <ac:picMk id="7" creationId="{A0FEE682-A13E-9DE0-0086-A577E624C114}"/>
          </ac:picMkLst>
        </pc:picChg>
      </pc:sldChg>
      <pc:sldChg chg="del">
        <pc:chgData name="Hemal Karmakar" userId="8e0c0607-2d2c-4176-b180-031f8940f0c7" providerId="ADAL" clId="{55DB41DD-0A20-4257-BEDE-3CACA6E74354}" dt="2023-03-19T04:37:05.308" v="978" actId="47"/>
        <pc:sldMkLst>
          <pc:docMk/>
          <pc:sldMk cId="2297738611" sldId="350"/>
        </pc:sldMkLst>
      </pc:sldChg>
      <pc:sldChg chg="del">
        <pc:chgData name="Hemal Karmakar" userId="8e0c0607-2d2c-4176-b180-031f8940f0c7" providerId="ADAL" clId="{55DB41DD-0A20-4257-BEDE-3CACA6E74354}" dt="2023-03-19T04:33:54.403" v="926" actId="47"/>
        <pc:sldMkLst>
          <pc:docMk/>
          <pc:sldMk cId="1953418592" sldId="351"/>
        </pc:sldMkLst>
      </pc:sldChg>
      <pc:sldChg chg="modSp mod modTransition">
        <pc:chgData name="Hemal Karmakar" userId="8e0c0607-2d2c-4176-b180-031f8940f0c7" providerId="ADAL" clId="{55DB41DD-0A20-4257-BEDE-3CACA6E74354}" dt="2023-03-22T05:50:21.020" v="5822" actId="1076"/>
        <pc:sldMkLst>
          <pc:docMk/>
          <pc:sldMk cId="4216122112" sldId="352"/>
        </pc:sldMkLst>
        <pc:spChg chg="mod">
          <ac:chgData name="Hemal Karmakar" userId="8e0c0607-2d2c-4176-b180-031f8940f0c7" providerId="ADAL" clId="{55DB41DD-0A20-4257-BEDE-3CACA6E74354}" dt="2023-03-22T05:49:33.838" v="5815" actId="403"/>
          <ac:spMkLst>
            <pc:docMk/>
            <pc:sldMk cId="4216122112" sldId="352"/>
            <ac:spMk id="35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2T05:50:04.405" v="5820" actId="1076"/>
          <ac:spMkLst>
            <pc:docMk/>
            <pc:sldMk cId="4216122112" sldId="352"/>
            <ac:spMk id="37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22T05:50:21.020" v="5822" actId="1076"/>
          <ac:spMkLst>
            <pc:docMk/>
            <pc:sldMk cId="4216122112" sldId="352"/>
            <ac:spMk id="38" creationId="{00000000-0000-0000-0000-000000000000}"/>
          </ac:spMkLst>
        </pc:spChg>
      </pc:sldChg>
      <pc:sldChg chg="del">
        <pc:chgData name="Hemal Karmakar" userId="8e0c0607-2d2c-4176-b180-031f8940f0c7" providerId="ADAL" clId="{55DB41DD-0A20-4257-BEDE-3CACA6E74354}" dt="2023-03-19T04:35:07.384" v="951" actId="47"/>
        <pc:sldMkLst>
          <pc:docMk/>
          <pc:sldMk cId="1227160845" sldId="353"/>
        </pc:sldMkLst>
      </pc:sldChg>
      <pc:sldChg chg="del">
        <pc:chgData name="Hemal Karmakar" userId="8e0c0607-2d2c-4176-b180-031f8940f0c7" providerId="ADAL" clId="{55DB41DD-0A20-4257-BEDE-3CACA6E74354}" dt="2023-03-19T17:48:21.076" v="3584" actId="47"/>
        <pc:sldMkLst>
          <pc:docMk/>
          <pc:sldMk cId="3080533012" sldId="355"/>
        </pc:sldMkLst>
      </pc:sldChg>
      <pc:sldChg chg="del">
        <pc:chgData name="Hemal Karmakar" userId="8e0c0607-2d2c-4176-b180-031f8940f0c7" providerId="ADAL" clId="{55DB41DD-0A20-4257-BEDE-3CACA6E74354}" dt="2023-03-19T04:36:17.756" v="972" actId="47"/>
        <pc:sldMkLst>
          <pc:docMk/>
          <pc:sldMk cId="430179341" sldId="356"/>
        </pc:sldMkLst>
      </pc:sldChg>
      <pc:sldChg chg="addSp delSp modSp mod modTransition">
        <pc:chgData name="Hemal Karmakar" userId="8e0c0607-2d2c-4176-b180-031f8940f0c7" providerId="ADAL" clId="{55DB41DD-0A20-4257-BEDE-3CACA6E74354}" dt="2023-03-19T04:39:45.135" v="998" actId="207"/>
        <pc:sldMkLst>
          <pc:docMk/>
          <pc:sldMk cId="870867082" sldId="357"/>
        </pc:sldMkLst>
        <pc:spChg chg="add del">
          <ac:chgData name="Hemal Karmakar" userId="8e0c0607-2d2c-4176-b180-031f8940f0c7" providerId="ADAL" clId="{55DB41DD-0A20-4257-BEDE-3CACA6E74354}" dt="2023-03-19T02:32:49.976" v="115" actId="22"/>
          <ac:spMkLst>
            <pc:docMk/>
            <pc:sldMk cId="870867082" sldId="357"/>
            <ac:spMk id="4" creationId="{CD0E97C9-38F6-0748-54DA-FB997508EE1D}"/>
          </ac:spMkLst>
        </pc:spChg>
        <pc:spChg chg="add mod">
          <ac:chgData name="Hemal Karmakar" userId="8e0c0607-2d2c-4176-b180-031f8940f0c7" providerId="ADAL" clId="{55DB41DD-0A20-4257-BEDE-3CACA6E74354}" dt="2023-03-19T02:33:19.828" v="141" actId="113"/>
          <ac:spMkLst>
            <pc:docMk/>
            <pc:sldMk cId="870867082" sldId="357"/>
            <ac:spMk id="6" creationId="{4C9C772B-6D74-810E-E3BF-1EBE10C3BD8F}"/>
          </ac:spMkLst>
        </pc:spChg>
        <pc:spChg chg="del mod">
          <ac:chgData name="Hemal Karmakar" userId="8e0c0607-2d2c-4176-b180-031f8940f0c7" providerId="ADAL" clId="{55DB41DD-0A20-4257-BEDE-3CACA6E74354}" dt="2023-03-19T02:19:39.089" v="77" actId="478"/>
          <ac:spMkLst>
            <pc:docMk/>
            <pc:sldMk cId="870867082" sldId="357"/>
            <ac:spMk id="15" creationId="{00000000-0000-0000-0000-000000000000}"/>
          </ac:spMkLst>
        </pc:spChg>
        <pc:spChg chg="del">
          <ac:chgData name="Hemal Karmakar" userId="8e0c0607-2d2c-4176-b180-031f8940f0c7" providerId="ADAL" clId="{55DB41DD-0A20-4257-BEDE-3CACA6E74354}" dt="2023-03-19T02:14:20.396" v="15" actId="478"/>
          <ac:spMkLst>
            <pc:docMk/>
            <pc:sldMk cId="870867082" sldId="357"/>
            <ac:spMk id="19" creationId="{00000000-0000-0000-0000-000000000000}"/>
          </ac:spMkLst>
        </pc:spChg>
        <pc:spChg chg="del">
          <ac:chgData name="Hemal Karmakar" userId="8e0c0607-2d2c-4176-b180-031f8940f0c7" providerId="ADAL" clId="{55DB41DD-0A20-4257-BEDE-3CACA6E74354}" dt="2023-03-19T02:14:18.100" v="14" actId="478"/>
          <ac:spMkLst>
            <pc:docMk/>
            <pc:sldMk cId="870867082" sldId="357"/>
            <ac:spMk id="20" creationId="{00000000-0000-0000-0000-000000000000}"/>
          </ac:spMkLst>
        </pc:spChg>
        <pc:spChg chg="del">
          <ac:chgData name="Hemal Karmakar" userId="8e0c0607-2d2c-4176-b180-031f8940f0c7" providerId="ADAL" clId="{55DB41DD-0A20-4257-BEDE-3CACA6E74354}" dt="2023-03-19T02:14:18.100" v="14" actId="478"/>
          <ac:spMkLst>
            <pc:docMk/>
            <pc:sldMk cId="870867082" sldId="357"/>
            <ac:spMk id="21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02:18:44.854" v="75" actId="2710"/>
          <ac:spMkLst>
            <pc:docMk/>
            <pc:sldMk cId="870867082" sldId="357"/>
            <ac:spMk id="22" creationId="{00000000-0000-0000-0000-000000000000}"/>
          </ac:spMkLst>
        </pc:spChg>
        <pc:spChg chg="mod">
          <ac:chgData name="Hemal Karmakar" userId="8e0c0607-2d2c-4176-b180-031f8940f0c7" providerId="ADAL" clId="{55DB41DD-0A20-4257-BEDE-3CACA6E74354}" dt="2023-03-19T04:39:45.135" v="998" actId="207"/>
          <ac:spMkLst>
            <pc:docMk/>
            <pc:sldMk cId="870867082" sldId="357"/>
            <ac:spMk id="35" creationId="{00000000-0000-0000-0000-000000000000}"/>
          </ac:spMkLst>
        </pc:spChg>
      </pc:sldChg>
      <pc:sldChg chg="del">
        <pc:chgData name="Hemal Karmakar" userId="8e0c0607-2d2c-4176-b180-031f8940f0c7" providerId="ADAL" clId="{55DB41DD-0A20-4257-BEDE-3CACA6E74354}" dt="2023-03-19T04:35:32.046" v="961" actId="47"/>
        <pc:sldMkLst>
          <pc:docMk/>
          <pc:sldMk cId="2060019409" sldId="358"/>
        </pc:sldMkLst>
      </pc:sldChg>
      <pc:sldChg chg="del">
        <pc:chgData name="Hemal Karmakar" userId="8e0c0607-2d2c-4176-b180-031f8940f0c7" providerId="ADAL" clId="{55DB41DD-0A20-4257-BEDE-3CACA6E74354}" dt="2023-03-19T17:48:12.313" v="3576" actId="47"/>
        <pc:sldMkLst>
          <pc:docMk/>
          <pc:sldMk cId="550648635" sldId="359"/>
        </pc:sldMkLst>
      </pc:sldChg>
      <pc:sldChg chg="addSp delSp modSp new mod ord">
        <pc:chgData name="Hemal Karmakar" userId="8e0c0607-2d2c-4176-b180-031f8940f0c7" providerId="ADAL" clId="{55DB41DD-0A20-4257-BEDE-3CACA6E74354}" dt="2023-03-22T05:50:44.252" v="5824"/>
        <pc:sldMkLst>
          <pc:docMk/>
          <pc:sldMk cId="803690130" sldId="360"/>
        </pc:sldMkLst>
        <pc:spChg chg="mod">
          <ac:chgData name="Hemal Karmakar" userId="8e0c0607-2d2c-4176-b180-031f8940f0c7" providerId="ADAL" clId="{55DB41DD-0A20-4257-BEDE-3CACA6E74354}" dt="2023-03-21T19:37:37.248" v="4829" actId="1038"/>
          <ac:spMkLst>
            <pc:docMk/>
            <pc:sldMk cId="803690130" sldId="360"/>
            <ac:spMk id="2" creationId="{1AB86024-3E45-11BF-1838-8A45CFC9FB95}"/>
          </ac:spMkLst>
        </pc:spChg>
        <pc:spChg chg="del">
          <ac:chgData name="Hemal Karmakar" userId="8e0c0607-2d2c-4176-b180-031f8940f0c7" providerId="ADAL" clId="{55DB41DD-0A20-4257-BEDE-3CACA6E74354}" dt="2023-03-19T04:38:57.270" v="995" actId="478"/>
          <ac:spMkLst>
            <pc:docMk/>
            <pc:sldMk cId="803690130" sldId="360"/>
            <ac:spMk id="2" creationId="{556A8771-8F40-59B9-3D56-D08372435E50}"/>
          </ac:spMkLst>
        </pc:spChg>
        <pc:spChg chg="add del mod">
          <ac:chgData name="Hemal Karmakar" userId="8e0c0607-2d2c-4176-b180-031f8940f0c7" providerId="ADAL" clId="{55DB41DD-0A20-4257-BEDE-3CACA6E74354}" dt="2023-03-21T20:03:43.328" v="4918" actId="478"/>
          <ac:spMkLst>
            <pc:docMk/>
            <pc:sldMk cId="803690130" sldId="360"/>
            <ac:spMk id="4" creationId="{2CDCA3C9-2A0B-3A3F-6120-5E2ECE7B6B6B}"/>
          </ac:spMkLst>
        </pc:spChg>
        <pc:spChg chg="add del">
          <ac:chgData name="Hemal Karmakar" userId="8e0c0607-2d2c-4176-b180-031f8940f0c7" providerId="ADAL" clId="{55DB41DD-0A20-4257-BEDE-3CACA6E74354}" dt="2023-03-19T04:43:21.650" v="1020" actId="478"/>
          <ac:spMkLst>
            <pc:docMk/>
            <pc:sldMk cId="803690130" sldId="360"/>
            <ac:spMk id="5" creationId="{514F385F-7964-7BD1-B90A-B9BE5BF02B84}"/>
          </ac:spMkLst>
        </pc:spChg>
        <pc:spChg chg="del">
          <ac:chgData name="Hemal Karmakar" userId="8e0c0607-2d2c-4176-b180-031f8940f0c7" providerId="ADAL" clId="{55DB41DD-0A20-4257-BEDE-3CACA6E74354}" dt="2023-03-21T19:15:37.762" v="4343" actId="478"/>
          <ac:spMkLst>
            <pc:docMk/>
            <pc:sldMk cId="803690130" sldId="360"/>
            <ac:spMk id="5" creationId="{F017630A-C2FF-3B7F-400B-5E0BEC382793}"/>
          </ac:spMkLst>
        </pc:spChg>
        <pc:spChg chg="add mod">
          <ac:chgData name="Hemal Karmakar" userId="8e0c0607-2d2c-4176-b180-031f8940f0c7" providerId="ADAL" clId="{55DB41DD-0A20-4257-BEDE-3CACA6E74354}" dt="2023-03-19T04:43:52.085" v="1029" actId="1038"/>
          <ac:spMkLst>
            <pc:docMk/>
            <pc:sldMk cId="803690130" sldId="360"/>
            <ac:spMk id="6" creationId="{B5FB4D7B-82DC-FA97-74C4-495A63DE3447}"/>
          </ac:spMkLst>
        </pc:spChg>
        <pc:spChg chg="add mod">
          <ac:chgData name="Hemal Karmakar" userId="8e0c0607-2d2c-4176-b180-031f8940f0c7" providerId="ADAL" clId="{55DB41DD-0A20-4257-BEDE-3CACA6E74354}" dt="2023-03-21T19:37:37.248" v="4829" actId="1038"/>
          <ac:spMkLst>
            <pc:docMk/>
            <pc:sldMk cId="803690130" sldId="360"/>
            <ac:spMk id="7" creationId="{39288235-23FF-CA04-A95C-5FB94D215D88}"/>
          </ac:spMkLst>
        </pc:spChg>
        <pc:spChg chg="del mod">
          <ac:chgData name="Hemal Karmakar" userId="8e0c0607-2d2c-4176-b180-031f8940f0c7" providerId="ADAL" clId="{55DB41DD-0A20-4257-BEDE-3CACA6E74354}" dt="2023-03-21T19:15:35.265" v="4342" actId="478"/>
          <ac:spMkLst>
            <pc:docMk/>
            <pc:sldMk cId="803690130" sldId="360"/>
            <ac:spMk id="8" creationId="{11A60480-BD26-958E-A8A7-6FF801234EA7}"/>
          </ac:spMkLst>
        </pc:spChg>
      </pc:sldChg>
      <pc:sldChg chg="new del">
        <pc:chgData name="Hemal Karmakar" userId="8e0c0607-2d2c-4176-b180-031f8940f0c7" providerId="ADAL" clId="{55DB41DD-0A20-4257-BEDE-3CACA6E74354}" dt="2023-03-19T04:38:51.449" v="993" actId="680"/>
        <pc:sldMkLst>
          <pc:docMk/>
          <pc:sldMk cId="1551471591" sldId="360"/>
        </pc:sldMkLst>
      </pc:sldChg>
      <pc:sldChg chg="del">
        <pc:chgData name="Hemal Karmakar" userId="8e0c0607-2d2c-4176-b180-031f8940f0c7" providerId="ADAL" clId="{55DB41DD-0A20-4257-BEDE-3CACA6E74354}" dt="2023-03-19T04:36:14.571" v="971" actId="47"/>
        <pc:sldMkLst>
          <pc:docMk/>
          <pc:sldMk cId="3170083101" sldId="360"/>
        </pc:sldMkLst>
      </pc:sldChg>
      <pc:sldChg chg="del">
        <pc:chgData name="Hemal Karmakar" userId="8e0c0607-2d2c-4176-b180-031f8940f0c7" providerId="ADAL" clId="{55DB41DD-0A20-4257-BEDE-3CACA6E74354}" dt="2023-03-19T04:36:52.045" v="976" actId="47"/>
        <pc:sldMkLst>
          <pc:docMk/>
          <pc:sldMk cId="172143593" sldId="361"/>
        </pc:sldMkLst>
      </pc:sldChg>
      <pc:sldChg chg="delSp new del mod">
        <pc:chgData name="Hemal Karmakar" userId="8e0c0607-2d2c-4176-b180-031f8940f0c7" providerId="ADAL" clId="{55DB41DD-0A20-4257-BEDE-3CACA6E74354}" dt="2023-03-19T04:42:35.254" v="1018" actId="47"/>
        <pc:sldMkLst>
          <pc:docMk/>
          <pc:sldMk cId="2255254660" sldId="361"/>
        </pc:sldMkLst>
        <pc:spChg chg="del">
          <ac:chgData name="Hemal Karmakar" userId="8e0c0607-2d2c-4176-b180-031f8940f0c7" providerId="ADAL" clId="{55DB41DD-0A20-4257-BEDE-3CACA6E74354}" dt="2023-03-19T04:39:11.908" v="997" actId="478"/>
          <ac:spMkLst>
            <pc:docMk/>
            <pc:sldMk cId="2255254660" sldId="361"/>
            <ac:spMk id="2" creationId="{73694248-E8B5-35D2-EA15-D95B260BE808}"/>
          </ac:spMkLst>
        </pc:spChg>
      </pc:sldChg>
      <pc:sldChg chg="add del">
        <pc:chgData name="Hemal Karmakar" userId="8e0c0607-2d2c-4176-b180-031f8940f0c7" providerId="ADAL" clId="{55DB41DD-0A20-4257-BEDE-3CACA6E74354}" dt="2023-03-19T04:44:01.504" v="1034" actId="47"/>
        <pc:sldMkLst>
          <pc:docMk/>
          <pc:sldMk cId="384799643" sldId="362"/>
        </pc:sldMkLst>
      </pc:sldChg>
      <pc:sldChg chg="del">
        <pc:chgData name="Hemal Karmakar" userId="8e0c0607-2d2c-4176-b180-031f8940f0c7" providerId="ADAL" clId="{55DB41DD-0A20-4257-BEDE-3CACA6E74354}" dt="2023-03-19T04:34:14.676" v="933" actId="47"/>
        <pc:sldMkLst>
          <pc:docMk/>
          <pc:sldMk cId="2562303042" sldId="362"/>
        </pc:sldMkLst>
      </pc:sldChg>
      <pc:sldChg chg="addSp modSp add mod">
        <pc:chgData name="Hemal Karmakar" userId="8e0c0607-2d2c-4176-b180-031f8940f0c7" providerId="ADAL" clId="{55DB41DD-0A20-4257-BEDE-3CACA6E74354}" dt="2023-03-22T06:30:37.790" v="6240" actId="1076"/>
        <pc:sldMkLst>
          <pc:docMk/>
          <pc:sldMk cId="556871267" sldId="363"/>
        </pc:sldMkLst>
        <pc:spChg chg="add mod">
          <ac:chgData name="Hemal Karmakar" userId="8e0c0607-2d2c-4176-b180-031f8940f0c7" providerId="ADAL" clId="{55DB41DD-0A20-4257-BEDE-3CACA6E74354}" dt="2023-03-19T05:24:17.682" v="1565" actId="20577"/>
          <ac:spMkLst>
            <pc:docMk/>
            <pc:sldMk cId="556871267" sldId="363"/>
            <ac:spMk id="5" creationId="{48464B25-6876-1472-388B-DB1CA15012FA}"/>
          </ac:spMkLst>
        </pc:spChg>
        <pc:spChg chg="add mod">
          <ac:chgData name="Hemal Karmakar" userId="8e0c0607-2d2c-4176-b180-031f8940f0c7" providerId="ADAL" clId="{55DB41DD-0A20-4257-BEDE-3CACA6E74354}" dt="2023-03-22T06:30:37.790" v="6240" actId="1076"/>
          <ac:spMkLst>
            <pc:docMk/>
            <pc:sldMk cId="556871267" sldId="363"/>
            <ac:spMk id="7" creationId="{90B7DCD6-1E4B-AE8F-3BC6-0527F587AAB6}"/>
          </ac:spMkLst>
        </pc:spChg>
        <pc:spChg chg="add mod">
          <ac:chgData name="Hemal Karmakar" userId="8e0c0607-2d2c-4176-b180-031f8940f0c7" providerId="ADAL" clId="{55DB41DD-0A20-4257-BEDE-3CACA6E74354}" dt="2023-03-19T05:24:14.252" v="1559" actId="20577"/>
          <ac:spMkLst>
            <pc:docMk/>
            <pc:sldMk cId="556871267" sldId="363"/>
            <ac:spMk id="11" creationId="{3C1342CD-A7B8-89F1-07DC-94AA39B22473}"/>
          </ac:spMkLst>
        </pc:spChg>
        <pc:spChg chg="add mod">
          <ac:chgData name="Hemal Karmakar" userId="8e0c0607-2d2c-4176-b180-031f8940f0c7" providerId="ADAL" clId="{55DB41DD-0A20-4257-BEDE-3CACA6E74354}" dt="2023-03-19T05:06:26.474" v="1387" actId="1035"/>
          <ac:spMkLst>
            <pc:docMk/>
            <pc:sldMk cId="556871267" sldId="363"/>
            <ac:spMk id="14" creationId="{2D07F1F7-0580-6EFB-5B0B-0FE53F51EACD}"/>
          </ac:spMkLst>
        </pc:spChg>
        <pc:spChg chg="add mod">
          <ac:chgData name="Hemal Karmakar" userId="8e0c0607-2d2c-4176-b180-031f8940f0c7" providerId="ADAL" clId="{55DB41DD-0A20-4257-BEDE-3CACA6E74354}" dt="2023-03-22T02:46:22.279" v="5173" actId="1035"/>
          <ac:spMkLst>
            <pc:docMk/>
            <pc:sldMk cId="556871267" sldId="363"/>
            <ac:spMk id="15" creationId="{2F3C26F2-B29F-5D38-62FB-3C835F24A2CE}"/>
          </ac:spMkLst>
        </pc:spChg>
        <pc:spChg chg="add mod">
          <ac:chgData name="Hemal Karmakar" userId="8e0c0607-2d2c-4176-b180-031f8940f0c7" providerId="ADAL" clId="{55DB41DD-0A20-4257-BEDE-3CACA6E74354}" dt="2023-03-19T05:14:06.887" v="1420" actId="20577"/>
          <ac:spMkLst>
            <pc:docMk/>
            <pc:sldMk cId="556871267" sldId="363"/>
            <ac:spMk id="17" creationId="{28D0BEAB-3701-AD67-D9BA-75CD4BF7093B}"/>
          </ac:spMkLst>
        </pc:spChg>
        <pc:picChg chg="add mod">
          <ac:chgData name="Hemal Karmakar" userId="8e0c0607-2d2c-4176-b180-031f8940f0c7" providerId="ADAL" clId="{55DB41DD-0A20-4257-BEDE-3CACA6E74354}" dt="2023-03-19T04:58:09.163" v="1237" actId="1076"/>
          <ac:picMkLst>
            <pc:docMk/>
            <pc:sldMk cId="556871267" sldId="363"/>
            <ac:picMk id="9" creationId="{6C49CABC-9495-D2A0-B912-3CA70F531776}"/>
          </ac:picMkLst>
        </pc:picChg>
        <pc:picChg chg="add mod">
          <ac:chgData name="Hemal Karmakar" userId="8e0c0607-2d2c-4176-b180-031f8940f0c7" providerId="ADAL" clId="{55DB41DD-0A20-4257-BEDE-3CACA6E74354}" dt="2023-03-22T02:46:22.279" v="5173" actId="1035"/>
          <ac:picMkLst>
            <pc:docMk/>
            <pc:sldMk cId="556871267" sldId="363"/>
            <ac:picMk id="13" creationId="{FA7F252B-6CEC-B951-967C-714DBF0440E0}"/>
          </ac:picMkLst>
        </pc:picChg>
      </pc:sldChg>
      <pc:sldChg chg="del">
        <pc:chgData name="Hemal Karmakar" userId="8e0c0607-2d2c-4176-b180-031f8940f0c7" providerId="ADAL" clId="{55DB41DD-0A20-4257-BEDE-3CACA6E74354}" dt="2023-03-19T04:37:31.140" v="990" actId="47"/>
        <pc:sldMkLst>
          <pc:docMk/>
          <pc:sldMk cId="578890014" sldId="363"/>
        </pc:sldMkLst>
      </pc:sldChg>
      <pc:sldChg chg="add del">
        <pc:chgData name="Hemal Karmakar" userId="8e0c0607-2d2c-4176-b180-031f8940f0c7" providerId="ADAL" clId="{55DB41DD-0A20-4257-BEDE-3CACA6E74354}" dt="2023-03-19T04:47:12.398" v="1093" actId="47"/>
        <pc:sldMkLst>
          <pc:docMk/>
          <pc:sldMk cId="574657044" sldId="364"/>
        </pc:sldMkLst>
      </pc:sldChg>
      <pc:sldChg chg="del">
        <pc:chgData name="Hemal Karmakar" userId="8e0c0607-2d2c-4176-b180-031f8940f0c7" providerId="ADAL" clId="{55DB41DD-0A20-4257-BEDE-3CACA6E74354}" dt="2023-03-19T04:34:07.777" v="930" actId="47"/>
        <pc:sldMkLst>
          <pc:docMk/>
          <pc:sldMk cId="3787907484" sldId="365"/>
        </pc:sldMkLst>
      </pc:sldChg>
      <pc:sldChg chg="addSp delSp modSp add mod">
        <pc:chgData name="Hemal Karmakar" userId="8e0c0607-2d2c-4176-b180-031f8940f0c7" providerId="ADAL" clId="{55DB41DD-0A20-4257-BEDE-3CACA6E74354}" dt="2023-03-22T03:39:32.839" v="5300" actId="20577"/>
        <pc:sldMkLst>
          <pc:docMk/>
          <pc:sldMk cId="3807594481" sldId="365"/>
        </pc:sldMkLst>
        <pc:spChg chg="add del mod">
          <ac:chgData name="Hemal Karmakar" userId="8e0c0607-2d2c-4176-b180-031f8940f0c7" providerId="ADAL" clId="{55DB41DD-0A20-4257-BEDE-3CACA6E74354}" dt="2023-03-19T17:16:48.679" v="2540" actId="478"/>
          <ac:spMkLst>
            <pc:docMk/>
            <pc:sldMk cId="3807594481" sldId="365"/>
            <ac:spMk id="2" creationId="{CD82FB78-52C4-C72B-0922-79842179A8B3}"/>
          </ac:spMkLst>
        </pc:spChg>
        <pc:spChg chg="mod">
          <ac:chgData name="Hemal Karmakar" userId="8e0c0607-2d2c-4176-b180-031f8940f0c7" providerId="ADAL" clId="{55DB41DD-0A20-4257-BEDE-3CACA6E74354}" dt="2023-03-19T17:15:46.543" v="2439" actId="2711"/>
          <ac:spMkLst>
            <pc:docMk/>
            <pc:sldMk cId="3807594481" sldId="365"/>
            <ac:spMk id="3" creationId="{0E96A3FF-12D8-485B-C462-54164624A17E}"/>
          </ac:spMkLst>
        </pc:spChg>
        <pc:spChg chg="mod">
          <ac:chgData name="Hemal Karmakar" userId="8e0c0607-2d2c-4176-b180-031f8940f0c7" providerId="ADAL" clId="{55DB41DD-0A20-4257-BEDE-3CACA6E74354}" dt="2023-03-21T20:08:46.818" v="4980" actId="1076"/>
          <ac:spMkLst>
            <pc:docMk/>
            <pc:sldMk cId="3807594481" sldId="365"/>
            <ac:spMk id="4" creationId="{2CDCA3C9-2A0B-3A3F-6120-5E2ECE7B6B6B}"/>
          </ac:spMkLst>
        </pc:spChg>
        <pc:spChg chg="mod">
          <ac:chgData name="Hemal Karmakar" userId="8e0c0607-2d2c-4176-b180-031f8940f0c7" providerId="ADAL" clId="{55DB41DD-0A20-4257-BEDE-3CACA6E74354}" dt="2023-03-19T17:15:46.543" v="2439" actId="2711"/>
          <ac:spMkLst>
            <pc:docMk/>
            <pc:sldMk cId="3807594481" sldId="365"/>
            <ac:spMk id="6" creationId="{B5FB4D7B-82DC-FA97-74C4-495A63DE3447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7" creationId="{F331C286-E03C-9F66-4BEC-51E7F25194D4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8" creationId="{0D6137B8-1934-53FC-8B0B-848728B3CAE2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9" creationId="{D68F6D48-D7A7-539A-6F6F-CD0763A6341E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0" creationId="{A0EDDF0C-4180-A1B7-7D57-2B04F571B094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1" creationId="{2316E9C1-B745-C055-F0F4-B5EFA00E8353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3" creationId="{4BF42AC7-7D65-4F60-F790-4B1F53C96EE6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4" creationId="{28435EC2-C654-AA88-0C00-074327AC117B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5" creationId="{AA5C0867-C5BE-DF2E-14AB-752146E146F2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6" creationId="{802BF5B3-6715-39D3-E38B-EB6C1A37B0AD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7" creationId="{126FF6A5-11C4-C314-8EA1-46FF6B57ADF8}"/>
          </ac:spMkLst>
        </pc:spChg>
        <pc:spChg chg="add del mod">
          <ac:chgData name="Hemal Karmakar" userId="8e0c0607-2d2c-4176-b180-031f8940f0c7" providerId="ADAL" clId="{55DB41DD-0A20-4257-BEDE-3CACA6E74354}" dt="2023-03-19T17:14:15.541" v="2431"/>
          <ac:spMkLst>
            <pc:docMk/>
            <pc:sldMk cId="3807594481" sldId="365"/>
            <ac:spMk id="18" creationId="{95CB29F4-39CF-6361-0A06-FA810B2F7EF1}"/>
          </ac:spMkLst>
        </pc:spChg>
        <pc:spChg chg="add mod">
          <ac:chgData name="Hemal Karmakar" userId="8e0c0607-2d2c-4176-b180-031f8940f0c7" providerId="ADAL" clId="{55DB41DD-0A20-4257-BEDE-3CACA6E74354}" dt="2023-03-22T03:39:32.839" v="5300" actId="20577"/>
          <ac:spMkLst>
            <pc:docMk/>
            <pc:sldMk cId="3807594481" sldId="365"/>
            <ac:spMk id="19" creationId="{61C8DE0F-8E38-2860-014D-1F69397CE291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0" creationId="{2348525D-3D08-64B9-B3B4-51D8CDF54E67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1" creationId="{B95733EA-4B99-644A-7ADF-4BAFFF8B8925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2" creationId="{5C46DA52-FC0F-2C46-3C7E-EA16B7276F0B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3" creationId="{FB2118FC-667A-10D5-CFBE-FFD6204D3824}"/>
          </ac:spMkLst>
        </pc:spChg>
        <pc:spChg chg="add del mod">
          <ac:chgData name="Hemal Karmakar" userId="8e0c0607-2d2c-4176-b180-031f8940f0c7" providerId="ADAL" clId="{55DB41DD-0A20-4257-BEDE-3CACA6E74354}" dt="2023-03-19T17:28:04.857" v="2993" actId="478"/>
          <ac:spMkLst>
            <pc:docMk/>
            <pc:sldMk cId="3807594481" sldId="365"/>
            <ac:spMk id="24" creationId="{CF0DDC80-62B0-07A0-31C5-553325048113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5" creationId="{B9A2E450-9F11-5B30-40FE-BD9B11F7EFBF}"/>
          </ac:spMkLst>
        </pc:spChg>
        <pc:spChg chg="add mod">
          <ac:chgData name="Hemal Karmakar" userId="8e0c0607-2d2c-4176-b180-031f8940f0c7" providerId="ADAL" clId="{55DB41DD-0A20-4257-BEDE-3CACA6E74354}" dt="2023-03-21T20:08:31.091" v="4978" actId="1038"/>
          <ac:spMkLst>
            <pc:docMk/>
            <pc:sldMk cId="3807594481" sldId="365"/>
            <ac:spMk id="26" creationId="{DE702161-53B5-8D00-F95C-7679434C789D}"/>
          </ac:spMkLst>
        </pc:spChg>
        <pc:spChg chg="add del mod">
          <ac:chgData name="Hemal Karmakar" userId="8e0c0607-2d2c-4176-b180-031f8940f0c7" providerId="ADAL" clId="{55DB41DD-0A20-4257-BEDE-3CACA6E74354}" dt="2023-03-19T17:28:08.140" v="2994" actId="478"/>
          <ac:spMkLst>
            <pc:docMk/>
            <pc:sldMk cId="3807594481" sldId="365"/>
            <ac:spMk id="27" creationId="{937D769E-CC1C-9A1B-DF88-DB5AAF5C3C9A}"/>
          </ac:spMkLst>
        </pc:spChg>
        <pc:spChg chg="add del mod">
          <ac:chgData name="Hemal Karmakar" userId="8e0c0607-2d2c-4176-b180-031f8940f0c7" providerId="ADAL" clId="{55DB41DD-0A20-4257-BEDE-3CACA6E74354}" dt="2023-03-19T17:50:16.623" v="3586" actId="478"/>
          <ac:spMkLst>
            <pc:docMk/>
            <pc:sldMk cId="3807594481" sldId="365"/>
            <ac:spMk id="28" creationId="{BE933F94-824E-42BD-1D0A-597BDCE14302}"/>
          </ac:spMkLst>
        </pc:spChg>
        <pc:spChg chg="add del mod">
          <ac:chgData name="Hemal Karmakar" userId="8e0c0607-2d2c-4176-b180-031f8940f0c7" providerId="ADAL" clId="{55DB41DD-0A20-4257-BEDE-3CACA6E74354}" dt="2023-03-19T17:50:16.623" v="3586" actId="478"/>
          <ac:spMkLst>
            <pc:docMk/>
            <pc:sldMk cId="3807594481" sldId="365"/>
            <ac:spMk id="29" creationId="{794C16A7-F66F-F727-60F0-CF56DE7BB924}"/>
          </ac:spMkLst>
        </pc:spChg>
        <pc:spChg chg="add del mod">
          <ac:chgData name="Hemal Karmakar" userId="8e0c0607-2d2c-4176-b180-031f8940f0c7" providerId="ADAL" clId="{55DB41DD-0A20-4257-BEDE-3CACA6E74354}" dt="2023-03-19T17:50:16.623" v="3586" actId="478"/>
          <ac:spMkLst>
            <pc:docMk/>
            <pc:sldMk cId="3807594481" sldId="365"/>
            <ac:spMk id="30" creationId="{70E8D31C-6171-1FA9-1C09-E129ADE245B7}"/>
          </ac:spMkLst>
        </pc:spChg>
        <pc:spChg chg="add mod">
          <ac:chgData name="Hemal Karmakar" userId="8e0c0607-2d2c-4176-b180-031f8940f0c7" providerId="ADAL" clId="{55DB41DD-0A20-4257-BEDE-3CACA6E74354}" dt="2023-03-21T20:08:55.771" v="4988" actId="1035"/>
          <ac:spMkLst>
            <pc:docMk/>
            <pc:sldMk cId="3807594481" sldId="365"/>
            <ac:spMk id="31" creationId="{974A7354-D81A-276E-9687-3CEB3D9D09B3}"/>
          </ac:spMkLst>
        </pc:spChg>
        <pc:spChg chg="add mod">
          <ac:chgData name="Hemal Karmakar" userId="8e0c0607-2d2c-4176-b180-031f8940f0c7" providerId="ADAL" clId="{55DB41DD-0A20-4257-BEDE-3CACA6E74354}" dt="2023-03-21T20:09:02.497" v="5004" actId="1035"/>
          <ac:spMkLst>
            <pc:docMk/>
            <pc:sldMk cId="3807594481" sldId="365"/>
            <ac:spMk id="32" creationId="{DF24DFEC-5130-EAD0-4033-A84422DC2FFA}"/>
          </ac:spMkLst>
        </pc:spChg>
        <pc:cxnChg chg="add del mod">
          <ac:chgData name="Hemal Karmakar" userId="8e0c0607-2d2c-4176-b180-031f8940f0c7" providerId="ADAL" clId="{55DB41DD-0A20-4257-BEDE-3CACA6E74354}" dt="2023-03-19T17:14:15.541" v="2431"/>
          <ac:cxnSpMkLst>
            <pc:docMk/>
            <pc:sldMk cId="3807594481" sldId="365"/>
            <ac:cxnSpMk id="5" creationId="{59378F88-FF07-BD53-8BA5-FBC34E6DB22F}"/>
          </ac:cxnSpMkLst>
        </pc:cxnChg>
        <pc:cxnChg chg="add del mod">
          <ac:chgData name="Hemal Karmakar" userId="8e0c0607-2d2c-4176-b180-031f8940f0c7" providerId="ADAL" clId="{55DB41DD-0A20-4257-BEDE-3CACA6E74354}" dt="2023-03-19T17:14:15.541" v="2431"/>
          <ac:cxnSpMkLst>
            <pc:docMk/>
            <pc:sldMk cId="3807594481" sldId="365"/>
            <ac:cxnSpMk id="12" creationId="{6DC587D9-FD7F-CB7B-9979-D581EEF2D46D}"/>
          </ac:cxnSpMkLst>
        </pc:cxnChg>
      </pc:sldChg>
      <pc:sldChg chg="del">
        <pc:chgData name="Hemal Karmakar" userId="8e0c0607-2d2c-4176-b180-031f8940f0c7" providerId="ADAL" clId="{55DB41DD-0A20-4257-BEDE-3CACA6E74354}" dt="2023-03-19T04:35:16.539" v="953" actId="47"/>
        <pc:sldMkLst>
          <pc:docMk/>
          <pc:sldMk cId="3552617216" sldId="366"/>
        </pc:sldMkLst>
      </pc:sldChg>
      <pc:sldChg chg="addSp delSp modSp add mod">
        <pc:chgData name="Hemal Karmakar" userId="8e0c0607-2d2c-4176-b180-031f8940f0c7" providerId="ADAL" clId="{55DB41DD-0A20-4257-BEDE-3CACA6E74354}" dt="2023-03-23T01:43:33.673" v="6284" actId="1076"/>
        <pc:sldMkLst>
          <pc:docMk/>
          <pc:sldMk cId="3628728245" sldId="366"/>
        </pc:sldMkLst>
        <pc:spChg chg="add mod">
          <ac:chgData name="Hemal Karmakar" userId="8e0c0607-2d2c-4176-b180-031f8940f0c7" providerId="ADAL" clId="{55DB41DD-0A20-4257-BEDE-3CACA6E74354}" dt="2023-03-23T01:43:23.861" v="6283" actId="1076"/>
          <ac:spMkLst>
            <pc:docMk/>
            <pc:sldMk cId="3628728245" sldId="366"/>
            <ac:spMk id="2" creationId="{4744859F-D93E-B934-99D8-2E23E11FD43E}"/>
          </ac:spMkLst>
        </pc:spChg>
        <pc:spChg chg="mod">
          <ac:chgData name="Hemal Karmakar" userId="8e0c0607-2d2c-4176-b180-031f8940f0c7" providerId="ADAL" clId="{55DB41DD-0A20-4257-BEDE-3CACA6E74354}" dt="2023-03-19T17:47:12.566" v="3536" actId="5793"/>
          <ac:spMkLst>
            <pc:docMk/>
            <pc:sldMk cId="3628728245" sldId="366"/>
            <ac:spMk id="4" creationId="{2CDCA3C9-2A0B-3A3F-6120-5E2ECE7B6B6B}"/>
          </ac:spMkLst>
        </pc:spChg>
        <pc:spChg chg="add del mod">
          <ac:chgData name="Hemal Karmakar" userId="8e0c0607-2d2c-4176-b180-031f8940f0c7" providerId="ADAL" clId="{55DB41DD-0A20-4257-BEDE-3CACA6E74354}" dt="2023-03-22T16:55:09.955" v="6266" actId="478"/>
          <ac:spMkLst>
            <pc:docMk/>
            <pc:sldMk cId="3628728245" sldId="366"/>
            <ac:spMk id="5" creationId="{105488FE-203F-F095-E2CD-F846CC9DCCE2}"/>
          </ac:spMkLst>
        </pc:spChg>
        <pc:spChg chg="add mod">
          <ac:chgData name="Hemal Karmakar" userId="8e0c0607-2d2c-4176-b180-031f8940f0c7" providerId="ADAL" clId="{55DB41DD-0A20-4257-BEDE-3CACA6E74354}" dt="2023-03-23T01:43:33.673" v="6284" actId="1076"/>
          <ac:spMkLst>
            <pc:docMk/>
            <pc:sldMk cId="3628728245" sldId="366"/>
            <ac:spMk id="8" creationId="{13775E72-D404-8C56-2FB3-31625948A18D}"/>
          </ac:spMkLst>
        </pc:spChg>
      </pc:sldChg>
      <pc:sldChg chg="addSp delSp modSp add mod">
        <pc:chgData name="Hemal Karmakar" userId="8e0c0607-2d2c-4176-b180-031f8940f0c7" providerId="ADAL" clId="{55DB41DD-0A20-4257-BEDE-3CACA6E74354}" dt="2023-03-22T16:25:27.122" v="6260" actId="1035"/>
        <pc:sldMkLst>
          <pc:docMk/>
          <pc:sldMk cId="2901735529" sldId="367"/>
        </pc:sldMkLst>
        <pc:spChg chg="add mod">
          <ac:chgData name="Hemal Karmakar" userId="8e0c0607-2d2c-4176-b180-031f8940f0c7" providerId="ADAL" clId="{55DB41DD-0A20-4257-BEDE-3CACA6E74354}" dt="2023-03-22T06:01:07.647" v="6143" actId="1076"/>
          <ac:spMkLst>
            <pc:docMk/>
            <pc:sldMk cId="2901735529" sldId="367"/>
            <ac:spMk id="2" creationId="{98920AE5-3514-83DF-82F2-5D406F9F13C9}"/>
          </ac:spMkLst>
        </pc:spChg>
        <pc:spChg chg="mod">
          <ac:chgData name="Hemal Karmakar" userId="8e0c0607-2d2c-4176-b180-031f8940f0c7" providerId="ADAL" clId="{55DB41DD-0A20-4257-BEDE-3CACA6E74354}" dt="2023-03-20T13:32:40.877" v="4304" actId="1035"/>
          <ac:spMkLst>
            <pc:docMk/>
            <pc:sldMk cId="2901735529" sldId="367"/>
            <ac:spMk id="3" creationId="{0E96A3FF-12D8-485B-C462-54164624A17E}"/>
          </ac:spMkLst>
        </pc:spChg>
        <pc:spChg chg="mod">
          <ac:chgData name="Hemal Karmakar" userId="8e0c0607-2d2c-4176-b180-031f8940f0c7" providerId="ADAL" clId="{55DB41DD-0A20-4257-BEDE-3CACA6E74354}" dt="2023-03-22T05:59:04.125" v="6034" actId="14100"/>
          <ac:spMkLst>
            <pc:docMk/>
            <pc:sldMk cId="2901735529" sldId="367"/>
            <ac:spMk id="4" creationId="{2CDCA3C9-2A0B-3A3F-6120-5E2ECE7B6B6B}"/>
          </ac:spMkLst>
        </pc:spChg>
        <pc:spChg chg="add mod">
          <ac:chgData name="Hemal Karmakar" userId="8e0c0607-2d2c-4176-b180-031f8940f0c7" providerId="ADAL" clId="{55DB41DD-0A20-4257-BEDE-3CACA6E74354}" dt="2023-03-22T16:25:27.122" v="6260" actId="1035"/>
          <ac:spMkLst>
            <pc:docMk/>
            <pc:sldMk cId="2901735529" sldId="367"/>
            <ac:spMk id="5" creationId="{A0D0673C-B0E9-DB8D-BDE1-80011C5E8B5B}"/>
          </ac:spMkLst>
        </pc:spChg>
        <pc:spChg chg="mod">
          <ac:chgData name="Hemal Karmakar" userId="8e0c0607-2d2c-4176-b180-031f8940f0c7" providerId="ADAL" clId="{55DB41DD-0A20-4257-BEDE-3CACA6E74354}" dt="2023-03-22T05:56:33.125" v="5886" actId="1036"/>
          <ac:spMkLst>
            <pc:docMk/>
            <pc:sldMk cId="2901735529" sldId="367"/>
            <ac:spMk id="6" creationId="{B5FB4D7B-82DC-FA97-74C4-495A63DE3447}"/>
          </ac:spMkLst>
        </pc:spChg>
        <pc:spChg chg="add mod">
          <ac:chgData name="Hemal Karmakar" userId="8e0c0607-2d2c-4176-b180-031f8940f0c7" providerId="ADAL" clId="{55DB41DD-0A20-4257-BEDE-3CACA6E74354}" dt="2023-03-22T06:01:07.647" v="6143" actId="1076"/>
          <ac:spMkLst>
            <pc:docMk/>
            <pc:sldMk cId="2901735529" sldId="367"/>
            <ac:spMk id="7" creationId="{7DF144B1-2402-9BF4-3CAE-B2C621D3387E}"/>
          </ac:spMkLst>
        </pc:spChg>
        <pc:spChg chg="add mod">
          <ac:chgData name="Hemal Karmakar" userId="8e0c0607-2d2c-4176-b180-031f8940f0c7" providerId="ADAL" clId="{55DB41DD-0A20-4257-BEDE-3CACA6E74354}" dt="2023-03-22T16:25:27.122" v="6260" actId="1035"/>
          <ac:spMkLst>
            <pc:docMk/>
            <pc:sldMk cId="2901735529" sldId="367"/>
            <ac:spMk id="8" creationId="{D9DC3DEF-A537-5DE0-9DB5-8EE9C84F8668}"/>
          </ac:spMkLst>
        </pc:spChg>
        <pc:spChg chg="add del mod">
          <ac:chgData name="Hemal Karmakar" userId="8e0c0607-2d2c-4176-b180-031f8940f0c7" providerId="ADAL" clId="{55DB41DD-0A20-4257-BEDE-3CACA6E74354}" dt="2023-03-21T19:39:08.309" v="4886" actId="478"/>
          <ac:spMkLst>
            <pc:docMk/>
            <pc:sldMk cId="2901735529" sldId="367"/>
            <ac:spMk id="9" creationId="{5C9B2E53-27ED-8845-6620-209CCFDB8BA1}"/>
          </ac:spMkLst>
        </pc:spChg>
        <pc:spChg chg="add mod">
          <ac:chgData name="Hemal Karmakar" userId="8e0c0607-2d2c-4176-b180-031f8940f0c7" providerId="ADAL" clId="{55DB41DD-0A20-4257-BEDE-3CACA6E74354}" dt="2023-03-22T16:25:27.122" v="6260" actId="1035"/>
          <ac:spMkLst>
            <pc:docMk/>
            <pc:sldMk cId="2901735529" sldId="367"/>
            <ac:spMk id="10" creationId="{40C0777C-932C-48DC-F72E-399F0F38A405}"/>
          </ac:spMkLst>
        </pc:spChg>
        <pc:spChg chg="add mod">
          <ac:chgData name="Hemal Karmakar" userId="8e0c0607-2d2c-4176-b180-031f8940f0c7" providerId="ADAL" clId="{55DB41DD-0A20-4257-BEDE-3CACA6E74354}" dt="2023-03-22T16:25:27.122" v="6260" actId="1035"/>
          <ac:spMkLst>
            <pc:docMk/>
            <pc:sldMk cId="2901735529" sldId="367"/>
            <ac:spMk id="11" creationId="{E35CB94F-DD4B-8940-6E6B-9AC9183491FD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3" creationId="{4CAC2248-99B5-0E14-6F8B-D2022581D712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4" creationId="{D3D93599-762A-3B92-F717-5C7E22437AE6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5" creationId="{57D417B6-F57D-216B-825F-CCE08AA0A50A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6" creationId="{ABF50838-E3D4-186E-D2C1-B6FB431228D5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7" creationId="{66FBDE44-BAED-02BA-6791-F6531EEA9524}"/>
          </ac:spMkLst>
        </pc:spChg>
        <pc:spChg chg="add mod">
          <ac:chgData name="Hemal Karmakar" userId="8e0c0607-2d2c-4176-b180-031f8940f0c7" providerId="ADAL" clId="{55DB41DD-0A20-4257-BEDE-3CACA6E74354}" dt="2023-03-22T06:06:28.068" v="6205" actId="1038"/>
          <ac:spMkLst>
            <pc:docMk/>
            <pc:sldMk cId="2901735529" sldId="367"/>
            <ac:spMk id="18" creationId="{389298B0-6D10-DA20-6371-F1384C4B7FFD}"/>
          </ac:spMkLst>
        </pc:spChg>
        <pc:spChg chg="add mod">
          <ac:chgData name="Hemal Karmakar" userId="8e0c0607-2d2c-4176-b180-031f8940f0c7" providerId="ADAL" clId="{55DB41DD-0A20-4257-BEDE-3CACA6E74354}" dt="2023-03-22T06:06:47.761" v="6207" actId="20577"/>
          <ac:spMkLst>
            <pc:docMk/>
            <pc:sldMk cId="2901735529" sldId="367"/>
            <ac:spMk id="19" creationId="{D97D50FB-9E43-E6E8-AA62-7F3EE94E1339}"/>
          </ac:spMkLst>
        </pc:spChg>
        <pc:spChg chg="add mod">
          <ac:chgData name="Hemal Karmakar" userId="8e0c0607-2d2c-4176-b180-031f8940f0c7" providerId="ADAL" clId="{55DB41DD-0A20-4257-BEDE-3CACA6E74354}" dt="2023-03-22T06:02:13.503" v="6154" actId="207"/>
          <ac:spMkLst>
            <pc:docMk/>
            <pc:sldMk cId="2901735529" sldId="367"/>
            <ac:spMk id="20" creationId="{A488C1C5-CBA1-6ACA-BDE7-EB52875C1CE9}"/>
          </ac:spMkLst>
        </pc:spChg>
        <pc:spChg chg="add mod ord">
          <ac:chgData name="Hemal Karmakar" userId="8e0c0607-2d2c-4176-b180-031f8940f0c7" providerId="ADAL" clId="{55DB41DD-0A20-4257-BEDE-3CACA6E74354}" dt="2023-03-22T06:02:49.881" v="6158" actId="207"/>
          <ac:spMkLst>
            <pc:docMk/>
            <pc:sldMk cId="2901735529" sldId="367"/>
            <ac:spMk id="21" creationId="{6C467A5D-609B-A6F1-DFC0-31FC3CFA3D4B}"/>
          </ac:spMkLst>
        </pc:spChg>
        <pc:spChg chg="add del mod">
          <ac:chgData name="Hemal Karmakar" userId="8e0c0607-2d2c-4176-b180-031f8940f0c7" providerId="ADAL" clId="{55DB41DD-0A20-4257-BEDE-3CACA6E74354}" dt="2023-03-22T16:25:20.398" v="6243" actId="478"/>
          <ac:spMkLst>
            <pc:docMk/>
            <pc:sldMk cId="2901735529" sldId="367"/>
            <ac:spMk id="22" creationId="{F6515F5D-8934-BAFB-C0AE-F248F7C423FE}"/>
          </ac:spMkLst>
        </pc:spChg>
        <pc:cxnChg chg="add del mod">
          <ac:chgData name="Hemal Karmakar" userId="8e0c0607-2d2c-4176-b180-031f8940f0c7" providerId="ADAL" clId="{55DB41DD-0A20-4257-BEDE-3CACA6E74354}" dt="2023-03-22T06:06:05.942" v="6192" actId="478"/>
          <ac:cxnSpMkLst>
            <pc:docMk/>
            <pc:sldMk cId="2901735529" sldId="367"/>
            <ac:cxnSpMk id="12" creationId="{7A36F1C3-FFFF-B960-DD89-3C03A9C003A6}"/>
          </ac:cxnSpMkLst>
        </pc:cxnChg>
        <pc:cxnChg chg="add del mod">
          <ac:chgData name="Hemal Karmakar" userId="8e0c0607-2d2c-4176-b180-031f8940f0c7" providerId="ADAL" clId="{55DB41DD-0A20-4257-BEDE-3CACA6E74354}" dt="2023-03-22T06:05:51.404" v="6189" actId="478"/>
          <ac:cxnSpMkLst>
            <pc:docMk/>
            <pc:sldMk cId="2901735529" sldId="367"/>
            <ac:cxnSpMk id="28" creationId="{16CD7E94-5E8E-68C8-62B3-6202BC43665D}"/>
          </ac:cxnSpMkLst>
        </pc:cxnChg>
        <pc:cxnChg chg="add del mod">
          <ac:chgData name="Hemal Karmakar" userId="8e0c0607-2d2c-4176-b180-031f8940f0c7" providerId="ADAL" clId="{55DB41DD-0A20-4257-BEDE-3CACA6E74354}" dt="2023-03-22T06:05:41.834" v="6185" actId="478"/>
          <ac:cxnSpMkLst>
            <pc:docMk/>
            <pc:sldMk cId="2901735529" sldId="367"/>
            <ac:cxnSpMk id="30" creationId="{A35F60A0-8B2B-A584-1ECB-A6E14716664A}"/>
          </ac:cxnSpMkLst>
        </pc:cxnChg>
        <pc:cxnChg chg="add del mod">
          <ac:chgData name="Hemal Karmakar" userId="8e0c0607-2d2c-4176-b180-031f8940f0c7" providerId="ADAL" clId="{55DB41DD-0A20-4257-BEDE-3CACA6E74354}" dt="2023-03-22T06:05:49.007" v="6188" actId="478"/>
          <ac:cxnSpMkLst>
            <pc:docMk/>
            <pc:sldMk cId="2901735529" sldId="367"/>
            <ac:cxnSpMk id="31" creationId="{66F591EF-E4CB-3908-175A-15146FC623CE}"/>
          </ac:cxnSpMkLst>
        </pc:cxnChg>
        <pc:cxnChg chg="add del mod">
          <ac:chgData name="Hemal Karmakar" userId="8e0c0607-2d2c-4176-b180-031f8940f0c7" providerId="ADAL" clId="{55DB41DD-0A20-4257-BEDE-3CACA6E74354}" dt="2023-03-22T06:05:53.435" v="6190" actId="478"/>
          <ac:cxnSpMkLst>
            <pc:docMk/>
            <pc:sldMk cId="2901735529" sldId="367"/>
            <ac:cxnSpMk id="32" creationId="{DCDC7FB2-C1FA-432C-E678-436CC00A9C79}"/>
          </ac:cxnSpMkLst>
        </pc:cxnChg>
        <pc:cxnChg chg="add del mod">
          <ac:chgData name="Hemal Karmakar" userId="8e0c0607-2d2c-4176-b180-031f8940f0c7" providerId="ADAL" clId="{55DB41DD-0A20-4257-BEDE-3CACA6E74354}" dt="2023-03-22T06:05:47.227" v="6187" actId="478"/>
          <ac:cxnSpMkLst>
            <pc:docMk/>
            <pc:sldMk cId="2901735529" sldId="367"/>
            <ac:cxnSpMk id="33" creationId="{0484D1F8-02C1-6356-2414-9BCBAF7EB018}"/>
          </ac:cxnSpMkLst>
        </pc:cxnChg>
        <pc:cxnChg chg="add del mod">
          <ac:chgData name="Hemal Karmakar" userId="8e0c0607-2d2c-4176-b180-031f8940f0c7" providerId="ADAL" clId="{55DB41DD-0A20-4257-BEDE-3CACA6E74354}" dt="2023-03-22T06:05:43.825" v="6186" actId="478"/>
          <ac:cxnSpMkLst>
            <pc:docMk/>
            <pc:sldMk cId="2901735529" sldId="367"/>
            <ac:cxnSpMk id="34" creationId="{CD5983C9-C440-AF1B-DFDB-36CBCD7626F1}"/>
          </ac:cxnSpMkLst>
        </pc:cxnChg>
      </pc:sldChg>
      <pc:sldChg chg="del">
        <pc:chgData name="Hemal Karmakar" userId="8e0c0607-2d2c-4176-b180-031f8940f0c7" providerId="ADAL" clId="{55DB41DD-0A20-4257-BEDE-3CACA6E74354}" dt="2023-03-19T04:34:10.303" v="931" actId="47"/>
        <pc:sldMkLst>
          <pc:docMk/>
          <pc:sldMk cId="2942769082" sldId="367"/>
        </pc:sldMkLst>
      </pc:sldChg>
      <pc:sldChg chg="modSp add mod">
        <pc:chgData name="Hemal Karmakar" userId="8e0c0607-2d2c-4176-b180-031f8940f0c7" providerId="ADAL" clId="{55DB41DD-0A20-4257-BEDE-3CACA6E74354}" dt="2023-03-23T01:39:24.349" v="6270" actId="403"/>
        <pc:sldMkLst>
          <pc:docMk/>
          <pc:sldMk cId="1083502141" sldId="368"/>
        </pc:sldMkLst>
        <pc:spChg chg="mod">
          <ac:chgData name="Hemal Karmakar" userId="8e0c0607-2d2c-4176-b180-031f8940f0c7" providerId="ADAL" clId="{55DB41DD-0A20-4257-BEDE-3CACA6E74354}" dt="2023-03-19T04:48:59.741" v="1141" actId="108"/>
          <ac:spMkLst>
            <pc:docMk/>
            <pc:sldMk cId="1083502141" sldId="368"/>
            <ac:spMk id="4" creationId="{2CDCA3C9-2A0B-3A3F-6120-5E2ECE7B6B6B}"/>
          </ac:spMkLst>
        </pc:spChg>
        <pc:spChg chg="mod">
          <ac:chgData name="Hemal Karmakar" userId="8e0c0607-2d2c-4176-b180-031f8940f0c7" providerId="ADAL" clId="{55DB41DD-0A20-4257-BEDE-3CACA6E74354}" dt="2023-03-23T01:39:17.429" v="6268" actId="403"/>
          <ac:spMkLst>
            <pc:docMk/>
            <pc:sldMk cId="1083502141" sldId="368"/>
            <ac:spMk id="19" creationId="{ADF7BFD6-6F08-3044-D400-0CAB6579B60D}"/>
          </ac:spMkLst>
        </pc:spChg>
        <pc:spChg chg="mod">
          <ac:chgData name="Hemal Karmakar" userId="8e0c0607-2d2c-4176-b180-031f8940f0c7" providerId="ADAL" clId="{55DB41DD-0A20-4257-BEDE-3CACA6E74354}" dt="2023-03-23T01:39:24.349" v="6270" actId="403"/>
          <ac:spMkLst>
            <pc:docMk/>
            <pc:sldMk cId="1083502141" sldId="368"/>
            <ac:spMk id="22" creationId="{5785F5B5-459E-9C46-D348-341A2B840A19}"/>
          </ac:spMkLst>
        </pc:spChg>
      </pc:sldChg>
      <pc:sldChg chg="del">
        <pc:chgData name="Hemal Karmakar" userId="8e0c0607-2d2c-4176-b180-031f8940f0c7" providerId="ADAL" clId="{55DB41DD-0A20-4257-BEDE-3CACA6E74354}" dt="2023-03-19T04:34:22.908" v="938" actId="47"/>
        <pc:sldMkLst>
          <pc:docMk/>
          <pc:sldMk cId="1737645161" sldId="368"/>
        </pc:sldMkLst>
      </pc:sldChg>
      <pc:sldChg chg="del">
        <pc:chgData name="Hemal Karmakar" userId="8e0c0607-2d2c-4176-b180-031f8940f0c7" providerId="ADAL" clId="{55DB41DD-0A20-4257-BEDE-3CACA6E74354}" dt="2023-03-19T04:35:05.140" v="950" actId="47"/>
        <pc:sldMkLst>
          <pc:docMk/>
          <pc:sldMk cId="3611318519" sldId="369"/>
        </pc:sldMkLst>
      </pc:sldChg>
      <pc:sldChg chg="add del">
        <pc:chgData name="Hemal Karmakar" userId="8e0c0607-2d2c-4176-b180-031f8940f0c7" providerId="ADAL" clId="{55DB41DD-0A20-4257-BEDE-3CACA6E74354}" dt="2023-03-22T05:48:55.924" v="5810" actId="47"/>
        <pc:sldMkLst>
          <pc:docMk/>
          <pc:sldMk cId="4192212843" sldId="369"/>
        </pc:sldMkLst>
      </pc:sldChg>
      <pc:sldChg chg="addSp delSp modSp add mod ord">
        <pc:chgData name="Hemal Karmakar" userId="8e0c0607-2d2c-4176-b180-031f8940f0c7" providerId="ADAL" clId="{55DB41DD-0A20-4257-BEDE-3CACA6E74354}" dt="2023-03-19T16:20:15.138" v="2390"/>
        <pc:sldMkLst>
          <pc:docMk/>
          <pc:sldMk cId="2565714632" sldId="370"/>
        </pc:sldMkLst>
        <pc:spChg chg="add mod">
          <ac:chgData name="Hemal Karmakar" userId="8e0c0607-2d2c-4176-b180-031f8940f0c7" providerId="ADAL" clId="{55DB41DD-0A20-4257-BEDE-3CACA6E74354}" dt="2023-03-19T16:18:41.940" v="2383" actId="14100"/>
          <ac:spMkLst>
            <pc:docMk/>
            <pc:sldMk cId="2565714632" sldId="370"/>
            <ac:spMk id="2" creationId="{B86815C6-2068-9144-20D1-1F2867CC5F6F}"/>
          </ac:spMkLst>
        </pc:spChg>
        <pc:spChg chg="mod">
          <ac:chgData name="Hemal Karmakar" userId="8e0c0607-2d2c-4176-b180-031f8940f0c7" providerId="ADAL" clId="{55DB41DD-0A20-4257-BEDE-3CACA6E74354}" dt="2023-03-19T16:15:46.862" v="2318" actId="1076"/>
          <ac:spMkLst>
            <pc:docMk/>
            <pc:sldMk cId="2565714632" sldId="370"/>
            <ac:spMk id="3" creationId="{0E96A3FF-12D8-485B-C462-54164624A17E}"/>
          </ac:spMkLst>
        </pc:spChg>
        <pc:spChg chg="mod">
          <ac:chgData name="Hemal Karmakar" userId="8e0c0607-2d2c-4176-b180-031f8940f0c7" providerId="ADAL" clId="{55DB41DD-0A20-4257-BEDE-3CACA6E74354}" dt="2023-03-19T16:05:39.029" v="2223" actId="1076"/>
          <ac:spMkLst>
            <pc:docMk/>
            <pc:sldMk cId="2565714632" sldId="370"/>
            <ac:spMk id="4" creationId="{2CDCA3C9-2A0B-3A3F-6120-5E2ECE7B6B6B}"/>
          </ac:spMkLst>
        </pc:spChg>
        <pc:spChg chg="del mod">
          <ac:chgData name="Hemal Karmakar" userId="8e0c0607-2d2c-4176-b180-031f8940f0c7" providerId="ADAL" clId="{55DB41DD-0A20-4257-BEDE-3CACA6E74354}" dt="2023-03-19T16:15:21.681" v="2311" actId="478"/>
          <ac:spMkLst>
            <pc:docMk/>
            <pc:sldMk cId="2565714632" sldId="370"/>
            <ac:spMk id="5" creationId="{48464B25-6876-1472-388B-DB1CA15012FA}"/>
          </ac:spMkLst>
        </pc:spChg>
        <pc:spChg chg="mod">
          <ac:chgData name="Hemal Karmakar" userId="8e0c0607-2d2c-4176-b180-031f8940f0c7" providerId="ADAL" clId="{55DB41DD-0A20-4257-BEDE-3CACA6E74354}" dt="2023-03-19T16:15:46.862" v="2318" actId="1076"/>
          <ac:spMkLst>
            <pc:docMk/>
            <pc:sldMk cId="2565714632" sldId="370"/>
            <ac:spMk id="6" creationId="{B5FB4D7B-82DC-FA97-74C4-495A63DE3447}"/>
          </ac:spMkLst>
        </pc:spChg>
        <pc:spChg chg="mod">
          <ac:chgData name="Hemal Karmakar" userId="8e0c0607-2d2c-4176-b180-031f8940f0c7" providerId="ADAL" clId="{55DB41DD-0A20-4257-BEDE-3CACA6E74354}" dt="2023-03-19T05:41:37.492" v="1830" actId="1038"/>
          <ac:spMkLst>
            <pc:docMk/>
            <pc:sldMk cId="2565714632" sldId="370"/>
            <ac:spMk id="7" creationId="{90B7DCD6-1E4B-AE8F-3BC6-0527F587AAB6}"/>
          </ac:spMkLst>
        </pc:spChg>
        <pc:spChg chg="del mod">
          <ac:chgData name="Hemal Karmakar" userId="8e0c0607-2d2c-4176-b180-031f8940f0c7" providerId="ADAL" clId="{55DB41DD-0A20-4257-BEDE-3CACA6E74354}" dt="2023-03-19T16:15:17.615" v="2309" actId="478"/>
          <ac:spMkLst>
            <pc:docMk/>
            <pc:sldMk cId="2565714632" sldId="370"/>
            <ac:spMk id="11" creationId="{3C1342CD-A7B8-89F1-07DC-94AA39B22473}"/>
          </ac:spMkLst>
        </pc:spChg>
        <pc:spChg chg="add del mod topLvl">
          <ac:chgData name="Hemal Karmakar" userId="8e0c0607-2d2c-4176-b180-031f8940f0c7" providerId="ADAL" clId="{55DB41DD-0A20-4257-BEDE-3CACA6E74354}" dt="2023-03-19T16:15:24.972" v="2313" actId="478"/>
          <ac:spMkLst>
            <pc:docMk/>
            <pc:sldMk cId="2565714632" sldId="370"/>
            <ac:spMk id="12" creationId="{1DF82C5B-31F9-372F-A3B3-7E5F7EE7D4E9}"/>
          </ac:spMkLst>
        </pc:spChg>
        <pc:spChg chg="del">
          <ac:chgData name="Hemal Karmakar" userId="8e0c0607-2d2c-4176-b180-031f8940f0c7" providerId="ADAL" clId="{55DB41DD-0A20-4257-BEDE-3CACA6E74354}" dt="2023-03-19T05:19:17.116" v="1468" actId="478"/>
          <ac:spMkLst>
            <pc:docMk/>
            <pc:sldMk cId="2565714632" sldId="370"/>
            <ac:spMk id="14" creationId="{2D07F1F7-0580-6EFB-5B0B-0FE53F51EACD}"/>
          </ac:spMkLst>
        </pc:spChg>
        <pc:spChg chg="del">
          <ac:chgData name="Hemal Karmakar" userId="8e0c0607-2d2c-4176-b180-031f8940f0c7" providerId="ADAL" clId="{55DB41DD-0A20-4257-BEDE-3CACA6E74354}" dt="2023-03-19T05:19:21.298" v="1470" actId="478"/>
          <ac:spMkLst>
            <pc:docMk/>
            <pc:sldMk cId="2565714632" sldId="370"/>
            <ac:spMk id="15" creationId="{2F3C26F2-B29F-5D38-62FB-3C835F24A2CE}"/>
          </ac:spMkLst>
        </pc:spChg>
        <pc:spChg chg="add del mod">
          <ac:chgData name="Hemal Karmakar" userId="8e0c0607-2d2c-4176-b180-031f8940f0c7" providerId="ADAL" clId="{55DB41DD-0A20-4257-BEDE-3CACA6E74354}" dt="2023-03-19T16:15:24.972" v="2313" actId="478"/>
          <ac:spMkLst>
            <pc:docMk/>
            <pc:sldMk cId="2565714632" sldId="370"/>
            <ac:spMk id="15" creationId="{D8299BBC-A23D-77F4-C2DF-D774C062A82C}"/>
          </ac:spMkLst>
        </pc:spChg>
        <pc:spChg chg="del">
          <ac:chgData name="Hemal Karmakar" userId="8e0c0607-2d2c-4176-b180-031f8940f0c7" providerId="ADAL" clId="{55DB41DD-0A20-4257-BEDE-3CACA6E74354}" dt="2023-03-19T05:19:24.888" v="1471" actId="478"/>
          <ac:spMkLst>
            <pc:docMk/>
            <pc:sldMk cId="2565714632" sldId="370"/>
            <ac:spMk id="17" creationId="{28D0BEAB-3701-AD67-D9BA-75CD4BF7093B}"/>
          </ac:spMkLst>
        </pc:spChg>
        <pc:spChg chg="add mod">
          <ac:chgData name="Hemal Karmakar" userId="8e0c0607-2d2c-4176-b180-031f8940f0c7" providerId="ADAL" clId="{55DB41DD-0A20-4257-BEDE-3CACA6E74354}" dt="2023-03-19T16:16:54.488" v="2369" actId="1076"/>
          <ac:spMkLst>
            <pc:docMk/>
            <pc:sldMk cId="2565714632" sldId="370"/>
            <ac:spMk id="18" creationId="{57E47331-A1E8-FA25-5347-A82714890554}"/>
          </ac:spMkLst>
        </pc:spChg>
        <pc:spChg chg="add mod">
          <ac:chgData name="Hemal Karmakar" userId="8e0c0607-2d2c-4176-b180-031f8940f0c7" providerId="ADAL" clId="{55DB41DD-0A20-4257-BEDE-3CACA6E74354}" dt="2023-03-19T16:16:49.009" v="2368" actId="20577"/>
          <ac:spMkLst>
            <pc:docMk/>
            <pc:sldMk cId="2565714632" sldId="370"/>
            <ac:spMk id="19" creationId="{AB849AE1-0117-378D-57A5-424F946F37BF}"/>
          </ac:spMkLst>
        </pc:spChg>
        <pc:spChg chg="add mod">
          <ac:chgData name="Hemal Karmakar" userId="8e0c0607-2d2c-4176-b180-031f8940f0c7" providerId="ADAL" clId="{55DB41DD-0A20-4257-BEDE-3CACA6E74354}" dt="2023-03-19T16:20:15.138" v="2390"/>
          <ac:spMkLst>
            <pc:docMk/>
            <pc:sldMk cId="2565714632" sldId="370"/>
            <ac:spMk id="20" creationId="{203B7DEA-89D8-215D-649C-430BCA957A57}"/>
          </ac:spMkLst>
        </pc:spChg>
        <pc:spChg chg="add mod ord">
          <ac:chgData name="Hemal Karmakar" userId="8e0c0607-2d2c-4176-b180-031f8940f0c7" providerId="ADAL" clId="{55DB41DD-0A20-4257-BEDE-3CACA6E74354}" dt="2023-03-19T05:41:12.254" v="1811" actId="207"/>
          <ac:spMkLst>
            <pc:docMk/>
            <pc:sldMk cId="2565714632" sldId="370"/>
            <ac:spMk id="22" creationId="{ED10D265-A724-78D3-2365-50A8EC64BF51}"/>
          </ac:spMkLst>
        </pc:spChg>
        <pc:spChg chg="add del">
          <ac:chgData name="Hemal Karmakar" userId="8e0c0607-2d2c-4176-b180-031f8940f0c7" providerId="ADAL" clId="{55DB41DD-0A20-4257-BEDE-3CACA6E74354}" dt="2023-03-19T05:41:03.936" v="1810" actId="478"/>
          <ac:spMkLst>
            <pc:docMk/>
            <pc:sldMk cId="2565714632" sldId="370"/>
            <ac:spMk id="24" creationId="{42EFB972-26BD-51C3-E652-FFCF26A02BC6}"/>
          </ac:spMkLst>
        </pc:spChg>
        <pc:spChg chg="add mod">
          <ac:chgData name="Hemal Karmakar" userId="8e0c0607-2d2c-4176-b180-031f8940f0c7" providerId="ADAL" clId="{55DB41DD-0A20-4257-BEDE-3CACA6E74354}" dt="2023-03-19T05:48:09.737" v="1885" actId="571"/>
          <ac:spMkLst>
            <pc:docMk/>
            <pc:sldMk cId="2565714632" sldId="370"/>
            <ac:spMk id="28" creationId="{614D4778-3AD3-E6D0-37D1-314D472E0DAC}"/>
          </ac:spMkLst>
        </pc:spChg>
        <pc:spChg chg="add mod topLvl">
          <ac:chgData name="Hemal Karmakar" userId="8e0c0607-2d2c-4176-b180-031f8940f0c7" providerId="ADAL" clId="{55DB41DD-0A20-4257-BEDE-3CACA6E74354}" dt="2023-03-19T16:05:33.901" v="2221" actId="164"/>
          <ac:spMkLst>
            <pc:docMk/>
            <pc:sldMk cId="2565714632" sldId="370"/>
            <ac:spMk id="29" creationId="{2BF5722B-8985-3EEC-F61B-71CF0F6450B0}"/>
          </ac:spMkLst>
        </pc:spChg>
        <pc:spChg chg="add mod">
          <ac:chgData name="Hemal Karmakar" userId="8e0c0607-2d2c-4176-b180-031f8940f0c7" providerId="ADAL" clId="{55DB41DD-0A20-4257-BEDE-3CACA6E74354}" dt="2023-03-19T16:02:32.719" v="2193" actId="164"/>
          <ac:spMkLst>
            <pc:docMk/>
            <pc:sldMk cId="2565714632" sldId="370"/>
            <ac:spMk id="30" creationId="{C3C857EF-2EB3-3932-8020-7D53CA4E3E09}"/>
          </ac:spMkLst>
        </pc:spChg>
        <pc:spChg chg="add mod">
          <ac:chgData name="Hemal Karmakar" userId="8e0c0607-2d2c-4176-b180-031f8940f0c7" providerId="ADAL" clId="{55DB41DD-0A20-4257-BEDE-3CACA6E74354}" dt="2023-03-19T16:02:32.719" v="2193" actId="164"/>
          <ac:spMkLst>
            <pc:docMk/>
            <pc:sldMk cId="2565714632" sldId="370"/>
            <ac:spMk id="31" creationId="{292F3FAC-AE56-A50B-8BCE-7118B9344EC6}"/>
          </ac:spMkLst>
        </pc:spChg>
        <pc:grpChg chg="add mod">
          <ac:chgData name="Hemal Karmakar" userId="8e0c0607-2d2c-4176-b180-031f8940f0c7" providerId="ADAL" clId="{55DB41DD-0A20-4257-BEDE-3CACA6E74354}" dt="2023-03-19T16:15:58.188" v="2322" actId="1076"/>
          <ac:grpSpMkLst>
            <pc:docMk/>
            <pc:sldMk cId="2565714632" sldId="370"/>
            <ac:grpSpMk id="8" creationId="{E05B4965-1857-0F23-1F6B-F1F644696A6A}"/>
          </ac:grpSpMkLst>
        </pc:grpChg>
        <pc:grpChg chg="add del mod">
          <ac:chgData name="Hemal Karmakar" userId="8e0c0607-2d2c-4176-b180-031f8940f0c7" providerId="ADAL" clId="{55DB41DD-0A20-4257-BEDE-3CACA6E74354}" dt="2023-03-19T16:05:16.733" v="2213" actId="165"/>
          <ac:grpSpMkLst>
            <pc:docMk/>
            <pc:sldMk cId="2565714632" sldId="370"/>
            <ac:grpSpMk id="9" creationId="{189A0058-EEB9-ADFF-0E40-084CDF698069}"/>
          </ac:grpSpMkLst>
        </pc:grpChg>
        <pc:grpChg chg="add del mod">
          <ac:chgData name="Hemal Karmakar" userId="8e0c0607-2d2c-4176-b180-031f8940f0c7" providerId="ADAL" clId="{55DB41DD-0A20-4257-BEDE-3CACA6E74354}" dt="2023-03-19T05:48:18.303" v="1886" actId="165"/>
          <ac:grpSpMkLst>
            <pc:docMk/>
            <pc:sldMk cId="2565714632" sldId="370"/>
            <ac:grpSpMk id="16" creationId="{B12DAFF9-1C0B-907B-D994-CD7BA9E01BEE}"/>
          </ac:grpSpMkLst>
        </pc:grpChg>
        <pc:grpChg chg="add mod">
          <ac:chgData name="Hemal Karmakar" userId="8e0c0607-2d2c-4176-b180-031f8940f0c7" providerId="ADAL" clId="{55DB41DD-0A20-4257-BEDE-3CACA6E74354}" dt="2023-03-19T16:16:13.262" v="2326" actId="1076"/>
          <ac:grpSpMkLst>
            <pc:docMk/>
            <pc:sldMk cId="2565714632" sldId="370"/>
            <ac:grpSpMk id="16" creationId="{CD534F1A-FA2D-52DB-D3A9-0200C6A957CB}"/>
          </ac:grpSpMkLst>
        </pc:grpChg>
        <pc:grpChg chg="add mod">
          <ac:chgData name="Hemal Karmakar" userId="8e0c0607-2d2c-4176-b180-031f8940f0c7" providerId="ADAL" clId="{55DB41DD-0A20-4257-BEDE-3CACA6E74354}" dt="2023-03-19T05:40:43.279" v="1808" actId="1037"/>
          <ac:grpSpMkLst>
            <pc:docMk/>
            <pc:sldMk cId="2565714632" sldId="370"/>
            <ac:grpSpMk id="23" creationId="{A0EC068E-449E-E07F-8295-7ED707D4D11F}"/>
          </ac:grpSpMkLst>
        </pc:grpChg>
        <pc:picChg chg="del">
          <ac:chgData name="Hemal Karmakar" userId="8e0c0607-2d2c-4176-b180-031f8940f0c7" providerId="ADAL" clId="{55DB41DD-0A20-4257-BEDE-3CACA6E74354}" dt="2023-03-19T05:19:15.071" v="1467" actId="478"/>
          <ac:picMkLst>
            <pc:docMk/>
            <pc:sldMk cId="2565714632" sldId="370"/>
            <ac:picMk id="9" creationId="{6C49CABC-9495-D2A0-B912-3CA70F531776}"/>
          </ac:picMkLst>
        </pc:picChg>
        <pc:picChg chg="add del mod topLvl modCrop">
          <ac:chgData name="Hemal Karmakar" userId="8e0c0607-2d2c-4176-b180-031f8940f0c7" providerId="ADAL" clId="{55DB41DD-0A20-4257-BEDE-3CACA6E74354}" dt="2023-03-19T16:15:18.496" v="2310" actId="478"/>
          <ac:picMkLst>
            <pc:docMk/>
            <pc:sldMk cId="2565714632" sldId="370"/>
            <ac:picMk id="10" creationId="{345CC7A3-855E-9A4C-5F08-03456C9B1F23}"/>
          </ac:picMkLst>
        </pc:picChg>
        <pc:picChg chg="del">
          <ac:chgData name="Hemal Karmakar" userId="8e0c0607-2d2c-4176-b180-031f8940f0c7" providerId="ADAL" clId="{55DB41DD-0A20-4257-BEDE-3CACA6E74354}" dt="2023-03-19T05:19:19.022" v="1469" actId="478"/>
          <ac:picMkLst>
            <pc:docMk/>
            <pc:sldMk cId="2565714632" sldId="370"/>
            <ac:picMk id="13" creationId="{FA7F252B-6CEC-B951-967C-714DBF0440E0}"/>
          </ac:picMkLst>
        </pc:picChg>
        <pc:picChg chg="add del mod modCrop">
          <ac:chgData name="Hemal Karmakar" userId="8e0c0607-2d2c-4176-b180-031f8940f0c7" providerId="ADAL" clId="{55DB41DD-0A20-4257-BEDE-3CACA6E74354}" dt="2023-03-19T16:15:22.599" v="2312" actId="478"/>
          <ac:picMkLst>
            <pc:docMk/>
            <pc:sldMk cId="2565714632" sldId="370"/>
            <ac:picMk id="14" creationId="{EDFF1492-FEE3-934E-0D74-EB41F87239A2}"/>
          </ac:picMkLst>
        </pc:picChg>
        <pc:picChg chg="add del mod">
          <ac:chgData name="Hemal Karmakar" userId="8e0c0607-2d2c-4176-b180-031f8940f0c7" providerId="ADAL" clId="{55DB41DD-0A20-4257-BEDE-3CACA6E74354}" dt="2023-03-19T05:44:28.762" v="1844" actId="478"/>
          <ac:picMkLst>
            <pc:docMk/>
            <pc:sldMk cId="2565714632" sldId="370"/>
            <ac:picMk id="19" creationId="{4D735385-AF7A-993A-ED0E-AE0B1D5CB9CB}"/>
          </ac:picMkLst>
        </pc:picChg>
        <pc:picChg chg="add mod modCrop">
          <ac:chgData name="Hemal Karmakar" userId="8e0c0607-2d2c-4176-b180-031f8940f0c7" providerId="ADAL" clId="{55DB41DD-0A20-4257-BEDE-3CACA6E74354}" dt="2023-03-19T16:02:32.719" v="2193" actId="164"/>
          <ac:picMkLst>
            <pc:docMk/>
            <pc:sldMk cId="2565714632" sldId="370"/>
            <ac:picMk id="21" creationId="{4F4B8E6F-957A-84BD-2077-FAB4D29F8B41}"/>
          </ac:picMkLst>
        </pc:picChg>
        <pc:picChg chg="add mod topLvl modCrop">
          <ac:chgData name="Hemal Karmakar" userId="8e0c0607-2d2c-4176-b180-031f8940f0c7" providerId="ADAL" clId="{55DB41DD-0A20-4257-BEDE-3CACA6E74354}" dt="2023-03-19T16:05:33.901" v="2221" actId="164"/>
          <ac:picMkLst>
            <pc:docMk/>
            <pc:sldMk cId="2565714632" sldId="370"/>
            <ac:picMk id="26" creationId="{541D402E-5D7F-E0F0-0807-DF344EB1A966}"/>
          </ac:picMkLst>
        </pc:picChg>
        <pc:picChg chg="add mod">
          <ac:chgData name="Hemal Karmakar" userId="8e0c0607-2d2c-4176-b180-031f8940f0c7" providerId="ADAL" clId="{55DB41DD-0A20-4257-BEDE-3CACA6E74354}" dt="2023-03-19T05:48:09.737" v="1885" actId="571"/>
          <ac:picMkLst>
            <pc:docMk/>
            <pc:sldMk cId="2565714632" sldId="370"/>
            <ac:picMk id="27" creationId="{B487F811-3EB2-C190-9BA8-0E9B38A3DC1F}"/>
          </ac:picMkLst>
        </pc:picChg>
      </pc:sldChg>
      <pc:sldChg chg="del">
        <pc:chgData name="Hemal Karmakar" userId="8e0c0607-2d2c-4176-b180-031f8940f0c7" providerId="ADAL" clId="{55DB41DD-0A20-4257-BEDE-3CACA6E74354}" dt="2023-03-19T04:36:33.492" v="975" actId="47"/>
        <pc:sldMkLst>
          <pc:docMk/>
          <pc:sldMk cId="3349138205" sldId="370"/>
        </pc:sldMkLst>
      </pc:sldChg>
      <pc:sldChg chg="addSp delSp modSp add mod">
        <pc:chgData name="Hemal Karmakar" userId="8e0c0607-2d2c-4176-b180-031f8940f0c7" providerId="ADAL" clId="{55DB41DD-0A20-4257-BEDE-3CACA6E74354}" dt="2023-03-19T05:53:16.408" v="2036" actId="1037"/>
        <pc:sldMkLst>
          <pc:docMk/>
          <pc:sldMk cId="349370807" sldId="371"/>
        </pc:sldMkLst>
        <pc:spChg chg="del">
          <ac:chgData name="Hemal Karmakar" userId="8e0c0607-2d2c-4176-b180-031f8940f0c7" providerId="ADAL" clId="{55DB41DD-0A20-4257-BEDE-3CACA6E74354}" dt="2023-03-19T05:46:58.770" v="1875" actId="478"/>
          <ac:spMkLst>
            <pc:docMk/>
            <pc:sldMk cId="349370807" sldId="371"/>
            <ac:spMk id="2" creationId="{B86815C6-2068-9144-20D1-1F2867CC5F6F}"/>
          </ac:spMkLst>
        </pc:spChg>
        <pc:spChg chg="del">
          <ac:chgData name="Hemal Karmakar" userId="8e0c0607-2d2c-4176-b180-031f8940f0c7" providerId="ADAL" clId="{55DB41DD-0A20-4257-BEDE-3CACA6E74354}" dt="2023-03-19T05:47:04.704" v="1877" actId="478"/>
          <ac:spMkLst>
            <pc:docMk/>
            <pc:sldMk cId="349370807" sldId="371"/>
            <ac:spMk id="5" creationId="{48464B25-6876-1472-388B-DB1CA15012FA}"/>
          </ac:spMkLst>
        </pc:spChg>
        <pc:spChg chg="mod">
          <ac:chgData name="Hemal Karmakar" userId="8e0c0607-2d2c-4176-b180-031f8940f0c7" providerId="ADAL" clId="{55DB41DD-0A20-4257-BEDE-3CACA6E74354}" dt="2023-03-19T05:51:07.671" v="1941" actId="1076"/>
          <ac:spMkLst>
            <pc:docMk/>
            <pc:sldMk cId="349370807" sldId="371"/>
            <ac:spMk id="11" creationId="{3C1342CD-A7B8-89F1-07DC-94AA39B22473}"/>
          </ac:spMkLst>
        </pc:spChg>
        <pc:grpChg chg="del mod">
          <ac:chgData name="Hemal Karmakar" userId="8e0c0607-2d2c-4176-b180-031f8940f0c7" providerId="ADAL" clId="{55DB41DD-0A20-4257-BEDE-3CACA6E74354}" dt="2023-03-19T05:50:49.697" v="1935" actId="478"/>
          <ac:grpSpMkLst>
            <pc:docMk/>
            <pc:sldMk cId="349370807" sldId="371"/>
            <ac:grpSpMk id="16" creationId="{B12DAFF9-1C0B-907B-D994-CD7BA9E01BEE}"/>
          </ac:grpSpMkLst>
        </pc:grpChg>
        <pc:picChg chg="add mod modCrop">
          <ac:chgData name="Hemal Karmakar" userId="8e0c0607-2d2c-4176-b180-031f8940f0c7" providerId="ADAL" clId="{55DB41DD-0A20-4257-BEDE-3CACA6E74354}" dt="2023-03-19T05:53:16.408" v="2036" actId="1037"/>
          <ac:picMkLst>
            <pc:docMk/>
            <pc:sldMk cId="349370807" sldId="371"/>
            <ac:picMk id="9" creationId="{7FB2967F-476D-4044-9FF2-53E078CE3C76}"/>
          </ac:picMkLst>
        </pc:picChg>
        <pc:picChg chg="add mod modCrop">
          <ac:chgData name="Hemal Karmakar" userId="8e0c0607-2d2c-4176-b180-031f8940f0c7" providerId="ADAL" clId="{55DB41DD-0A20-4257-BEDE-3CACA6E74354}" dt="2023-03-19T05:53:16.408" v="2036" actId="1037"/>
          <ac:picMkLst>
            <pc:docMk/>
            <pc:sldMk cId="349370807" sldId="371"/>
            <ac:picMk id="13" creationId="{130549A0-7846-0FF3-A3E4-716C94847F8B}"/>
          </ac:picMkLst>
        </pc:picChg>
        <pc:picChg chg="del">
          <ac:chgData name="Hemal Karmakar" userId="8e0c0607-2d2c-4176-b180-031f8940f0c7" providerId="ADAL" clId="{55DB41DD-0A20-4257-BEDE-3CACA6E74354}" dt="2023-03-19T05:46:58.770" v="1875" actId="478"/>
          <ac:picMkLst>
            <pc:docMk/>
            <pc:sldMk cId="349370807" sldId="371"/>
            <ac:picMk id="21" creationId="{4F4B8E6F-957A-84BD-2077-FAB4D29F8B41}"/>
          </ac:picMkLst>
        </pc:picChg>
        <pc:picChg chg="del">
          <ac:chgData name="Hemal Karmakar" userId="8e0c0607-2d2c-4176-b180-031f8940f0c7" providerId="ADAL" clId="{55DB41DD-0A20-4257-BEDE-3CACA6E74354}" dt="2023-03-19T05:47:00.792" v="1876" actId="478"/>
          <ac:picMkLst>
            <pc:docMk/>
            <pc:sldMk cId="349370807" sldId="371"/>
            <ac:picMk id="26" creationId="{541D402E-5D7F-E0F0-0807-DF344EB1A966}"/>
          </ac:picMkLst>
        </pc:picChg>
      </pc:sldChg>
      <pc:sldChg chg="del">
        <pc:chgData name="Hemal Karmakar" userId="8e0c0607-2d2c-4176-b180-031f8940f0c7" providerId="ADAL" clId="{55DB41DD-0A20-4257-BEDE-3CACA6E74354}" dt="2023-03-19T04:34:22.117" v="937" actId="47"/>
        <pc:sldMkLst>
          <pc:docMk/>
          <pc:sldMk cId="3039246788" sldId="371"/>
        </pc:sldMkLst>
      </pc:sldChg>
      <pc:sldChg chg="modSp add del mod">
        <pc:chgData name="Hemal Karmakar" userId="8e0c0607-2d2c-4176-b180-031f8940f0c7" providerId="ADAL" clId="{55DB41DD-0A20-4257-BEDE-3CACA6E74354}" dt="2023-03-19T05:22:31.570" v="1515" actId="47"/>
        <pc:sldMkLst>
          <pc:docMk/>
          <pc:sldMk cId="3420277964" sldId="371"/>
        </pc:sldMkLst>
        <pc:spChg chg="mod">
          <ac:chgData name="Hemal Karmakar" userId="8e0c0607-2d2c-4176-b180-031f8940f0c7" providerId="ADAL" clId="{55DB41DD-0A20-4257-BEDE-3CACA6E74354}" dt="2023-03-19T05:21:54.643" v="1512" actId="20577"/>
          <ac:spMkLst>
            <pc:docMk/>
            <pc:sldMk cId="3420277964" sldId="371"/>
            <ac:spMk id="11" creationId="{3C1342CD-A7B8-89F1-07DC-94AA39B22473}"/>
          </ac:spMkLst>
        </pc:spChg>
      </pc:sldChg>
      <pc:sldChg chg="addSp delSp modSp add mod">
        <pc:chgData name="Hemal Karmakar" userId="8e0c0607-2d2c-4176-b180-031f8940f0c7" providerId="ADAL" clId="{55DB41DD-0A20-4257-BEDE-3CACA6E74354}" dt="2023-03-22T05:48:52.479" v="5809" actId="478"/>
        <pc:sldMkLst>
          <pc:docMk/>
          <pc:sldMk cId="255644333" sldId="372"/>
        </pc:sldMkLst>
        <pc:spChg chg="add mod">
          <ac:chgData name="Hemal Karmakar" userId="8e0c0607-2d2c-4176-b180-031f8940f0c7" providerId="ADAL" clId="{55DB41DD-0A20-4257-BEDE-3CACA6E74354}" dt="2023-03-22T05:25:31.593" v="5604" actId="14100"/>
          <ac:spMkLst>
            <pc:docMk/>
            <pc:sldMk cId="255644333" sldId="372"/>
            <ac:spMk id="2" creationId="{B6A4C735-82C4-2B40-8461-BADF7EC6B261}"/>
          </ac:spMkLst>
        </pc:spChg>
        <pc:spChg chg="mod">
          <ac:chgData name="Hemal Karmakar" userId="8e0c0607-2d2c-4176-b180-031f8940f0c7" providerId="ADAL" clId="{55DB41DD-0A20-4257-BEDE-3CACA6E74354}" dt="2023-03-22T03:50:33.961" v="5454" actId="1076"/>
          <ac:spMkLst>
            <pc:docMk/>
            <pc:sldMk cId="255644333" sldId="372"/>
            <ac:spMk id="4" creationId="{2CDCA3C9-2A0B-3A3F-6120-5E2ECE7B6B6B}"/>
          </ac:spMkLst>
        </pc:spChg>
        <pc:spChg chg="add mod">
          <ac:chgData name="Hemal Karmakar" userId="8e0c0607-2d2c-4176-b180-031f8940f0c7" providerId="ADAL" clId="{55DB41DD-0A20-4257-BEDE-3CACA6E74354}" dt="2023-03-22T05:29:46.940" v="5633" actId="1076"/>
          <ac:spMkLst>
            <pc:docMk/>
            <pc:sldMk cId="255644333" sldId="372"/>
            <ac:spMk id="5" creationId="{007C904E-6410-74FD-D665-081C1A200F35}"/>
          </ac:spMkLst>
        </pc:spChg>
        <pc:spChg chg="del mod">
          <ac:chgData name="Hemal Karmakar" userId="8e0c0607-2d2c-4176-b180-031f8940f0c7" providerId="ADAL" clId="{55DB41DD-0A20-4257-BEDE-3CACA6E74354}" dt="2023-03-22T05:48:52.479" v="5809" actId="478"/>
          <ac:spMkLst>
            <pc:docMk/>
            <pc:sldMk cId="255644333" sldId="372"/>
            <ac:spMk id="6" creationId="{B5FB4D7B-82DC-FA97-74C4-495A63DE3447}"/>
          </ac:spMkLst>
        </pc:spChg>
        <pc:spChg chg="mod topLvl">
          <ac:chgData name="Hemal Karmakar" userId="8e0c0607-2d2c-4176-b180-031f8940f0c7" providerId="ADAL" clId="{55DB41DD-0A20-4257-BEDE-3CACA6E74354}" dt="2023-03-22T05:45:48.610" v="5797" actId="21"/>
          <ac:spMkLst>
            <pc:docMk/>
            <pc:sldMk cId="255644333" sldId="372"/>
            <ac:spMk id="7" creationId="{90B7DCD6-1E4B-AE8F-3BC6-0527F587AAB6}"/>
          </ac:spMkLst>
        </pc:spChg>
        <pc:spChg chg="add mod">
          <ac:chgData name="Hemal Karmakar" userId="8e0c0607-2d2c-4176-b180-031f8940f0c7" providerId="ADAL" clId="{55DB41DD-0A20-4257-BEDE-3CACA6E74354}" dt="2023-03-22T05:29:33.084" v="5630" actId="1076"/>
          <ac:spMkLst>
            <pc:docMk/>
            <pc:sldMk cId="255644333" sldId="372"/>
            <ac:spMk id="8" creationId="{FA326731-EA88-6B2F-6358-15BCF6AD2649}"/>
          </ac:spMkLst>
        </pc:spChg>
        <pc:spChg chg="add mod">
          <ac:chgData name="Hemal Karmakar" userId="8e0c0607-2d2c-4176-b180-031f8940f0c7" providerId="ADAL" clId="{55DB41DD-0A20-4257-BEDE-3CACA6E74354}" dt="2023-03-22T05:33:14.452" v="5660" actId="20577"/>
          <ac:spMkLst>
            <pc:docMk/>
            <pc:sldMk cId="255644333" sldId="372"/>
            <ac:spMk id="9" creationId="{B20965F1-8CE1-AAC0-3DFA-1A3970C8225D}"/>
          </ac:spMkLst>
        </pc:spChg>
        <pc:spChg chg="add mod">
          <ac:chgData name="Hemal Karmakar" userId="8e0c0607-2d2c-4176-b180-031f8940f0c7" providerId="ADAL" clId="{55DB41DD-0A20-4257-BEDE-3CACA6E74354}" dt="2023-03-22T05:46:32.820" v="5802" actId="1036"/>
          <ac:spMkLst>
            <pc:docMk/>
            <pc:sldMk cId="255644333" sldId="372"/>
            <ac:spMk id="10" creationId="{A88FB53D-4EF6-EEBA-C7EB-768052C5A101}"/>
          </ac:spMkLst>
        </pc:spChg>
        <pc:spChg chg="add del mod">
          <ac:chgData name="Hemal Karmakar" userId="8e0c0607-2d2c-4176-b180-031f8940f0c7" providerId="ADAL" clId="{55DB41DD-0A20-4257-BEDE-3CACA6E74354}" dt="2023-03-22T03:46:41.966" v="5355" actId="478"/>
          <ac:spMkLst>
            <pc:docMk/>
            <pc:sldMk cId="255644333" sldId="372"/>
            <ac:spMk id="11" creationId="{3BB6A1DB-6EBE-06B3-3450-9FEBF95F9EA2}"/>
          </ac:spMkLst>
        </pc:spChg>
        <pc:spChg chg="del">
          <ac:chgData name="Hemal Karmakar" userId="8e0c0607-2d2c-4176-b180-031f8940f0c7" providerId="ADAL" clId="{55DB41DD-0A20-4257-BEDE-3CACA6E74354}" dt="2023-03-19T05:54:39.542" v="2041" actId="478"/>
          <ac:spMkLst>
            <pc:docMk/>
            <pc:sldMk cId="255644333" sldId="372"/>
            <ac:spMk id="11" creationId="{3C1342CD-A7B8-89F1-07DC-94AA39B22473}"/>
          </ac:spMkLst>
        </pc:spChg>
        <pc:spChg chg="add del mod">
          <ac:chgData name="Hemal Karmakar" userId="8e0c0607-2d2c-4176-b180-031f8940f0c7" providerId="ADAL" clId="{55DB41DD-0A20-4257-BEDE-3CACA6E74354}" dt="2023-03-19T05:58:49.561" v="2103" actId="478"/>
          <ac:spMkLst>
            <pc:docMk/>
            <pc:sldMk cId="255644333" sldId="372"/>
            <ac:spMk id="12" creationId="{D9F0CCD2-06BB-8517-84E5-B0B9CF04CDF5}"/>
          </ac:spMkLst>
        </pc:spChg>
        <pc:spChg chg="add del mod">
          <ac:chgData name="Hemal Karmakar" userId="8e0c0607-2d2c-4176-b180-031f8940f0c7" providerId="ADAL" clId="{55DB41DD-0A20-4257-BEDE-3CACA6E74354}" dt="2023-03-22T03:46:40.454" v="5354" actId="478"/>
          <ac:spMkLst>
            <pc:docMk/>
            <pc:sldMk cId="255644333" sldId="372"/>
            <ac:spMk id="12" creationId="{DA9904F3-0A02-B126-6005-B9F3A1FB249E}"/>
          </ac:spMkLst>
        </pc:spChg>
        <pc:spChg chg="add del mod">
          <ac:chgData name="Hemal Karmakar" userId="8e0c0607-2d2c-4176-b180-031f8940f0c7" providerId="ADAL" clId="{55DB41DD-0A20-4257-BEDE-3CACA6E74354}" dt="2023-03-22T03:46:38.895" v="5353" actId="478"/>
          <ac:spMkLst>
            <pc:docMk/>
            <pc:sldMk cId="255644333" sldId="372"/>
            <ac:spMk id="13" creationId="{5DED9A7F-3BDF-1EEB-4822-8557BB61B576}"/>
          </ac:spMkLst>
        </pc:spChg>
        <pc:spChg chg="add mod">
          <ac:chgData name="Hemal Karmakar" userId="8e0c0607-2d2c-4176-b180-031f8940f0c7" providerId="ADAL" clId="{55DB41DD-0A20-4257-BEDE-3CACA6E74354}" dt="2023-03-22T05:38:02.116" v="5676" actId="20577"/>
          <ac:spMkLst>
            <pc:docMk/>
            <pc:sldMk cId="255644333" sldId="372"/>
            <ac:spMk id="14" creationId="{6F5E7845-CAF4-68F9-2A73-3CED72EFD218}"/>
          </ac:spMkLst>
        </pc:spChg>
        <pc:spChg chg="add mod">
          <ac:chgData name="Hemal Karmakar" userId="8e0c0607-2d2c-4176-b180-031f8940f0c7" providerId="ADAL" clId="{55DB41DD-0A20-4257-BEDE-3CACA6E74354}" dt="2023-03-22T05:41:37.748" v="5770" actId="313"/>
          <ac:spMkLst>
            <pc:docMk/>
            <pc:sldMk cId="255644333" sldId="372"/>
            <ac:spMk id="15" creationId="{59D25BA0-77FE-986D-DC97-422A6EF9817C}"/>
          </ac:spMkLst>
        </pc:spChg>
        <pc:spChg chg="add mod">
          <ac:chgData name="Hemal Karmakar" userId="8e0c0607-2d2c-4176-b180-031f8940f0c7" providerId="ADAL" clId="{55DB41DD-0A20-4257-BEDE-3CACA6E74354}" dt="2023-03-22T05:44:51.775" v="5793" actId="20577"/>
          <ac:spMkLst>
            <pc:docMk/>
            <pc:sldMk cId="255644333" sldId="372"/>
            <ac:spMk id="16" creationId="{3425031E-A0A2-CC7F-3AD3-CE49D727C384}"/>
          </ac:spMkLst>
        </pc:spChg>
        <pc:spChg chg="add mod">
          <ac:chgData name="Hemal Karmakar" userId="8e0c0607-2d2c-4176-b180-031f8940f0c7" providerId="ADAL" clId="{55DB41DD-0A20-4257-BEDE-3CACA6E74354}" dt="2023-03-22T05:46:17.105" v="5800"/>
          <ac:spMkLst>
            <pc:docMk/>
            <pc:sldMk cId="255644333" sldId="372"/>
            <ac:spMk id="17" creationId="{894F73C0-DC05-475C-2188-02E17A564653}"/>
          </ac:spMkLst>
        </pc:spChg>
        <pc:spChg chg="add mod ord">
          <ac:chgData name="Hemal Karmakar" userId="8e0c0607-2d2c-4176-b180-031f8940f0c7" providerId="ADAL" clId="{55DB41DD-0A20-4257-BEDE-3CACA6E74354}" dt="2023-03-22T05:47:26.664" v="5807" actId="1076"/>
          <ac:spMkLst>
            <pc:docMk/>
            <pc:sldMk cId="255644333" sldId="372"/>
            <ac:spMk id="18" creationId="{42885F0E-62BA-9415-298B-D0A9FC7D27EE}"/>
          </ac:spMkLst>
        </pc:spChg>
        <pc:spChg chg="del mod topLvl">
          <ac:chgData name="Hemal Karmakar" userId="8e0c0607-2d2c-4176-b180-031f8940f0c7" providerId="ADAL" clId="{55DB41DD-0A20-4257-BEDE-3CACA6E74354}" dt="2023-03-22T03:49:38.637" v="5389" actId="478"/>
          <ac:spMkLst>
            <pc:docMk/>
            <pc:sldMk cId="255644333" sldId="372"/>
            <ac:spMk id="22" creationId="{ED10D265-A724-78D3-2365-50A8EC64BF51}"/>
          </ac:spMkLst>
        </pc:spChg>
        <pc:grpChg chg="add del mod">
          <ac:chgData name="Hemal Karmakar" userId="8e0c0607-2d2c-4176-b180-031f8940f0c7" providerId="ADAL" clId="{55DB41DD-0A20-4257-BEDE-3CACA6E74354}" dt="2023-03-22T03:49:27.102" v="5386" actId="165"/>
          <ac:grpSpMkLst>
            <pc:docMk/>
            <pc:sldMk cId="255644333" sldId="372"/>
            <ac:grpSpMk id="23" creationId="{A0EC068E-449E-E07F-8295-7ED707D4D11F}"/>
          </ac:grpSpMkLst>
        </pc:grpChg>
        <pc:picChg chg="del mod">
          <ac:chgData name="Hemal Karmakar" userId="8e0c0607-2d2c-4176-b180-031f8940f0c7" providerId="ADAL" clId="{55DB41DD-0A20-4257-BEDE-3CACA6E74354}" dt="2023-03-19T05:54:07.310" v="2039" actId="478"/>
          <ac:picMkLst>
            <pc:docMk/>
            <pc:sldMk cId="255644333" sldId="372"/>
            <ac:picMk id="9" creationId="{7FB2967F-476D-4044-9FF2-53E078CE3C76}"/>
          </ac:picMkLst>
        </pc:picChg>
        <pc:picChg chg="del">
          <ac:chgData name="Hemal Karmakar" userId="8e0c0607-2d2c-4176-b180-031f8940f0c7" providerId="ADAL" clId="{55DB41DD-0A20-4257-BEDE-3CACA6E74354}" dt="2023-03-19T05:54:08.398" v="2040" actId="478"/>
          <ac:picMkLst>
            <pc:docMk/>
            <pc:sldMk cId="255644333" sldId="372"/>
            <ac:picMk id="13" creationId="{130549A0-7846-0FF3-A3E4-716C94847F8B}"/>
          </ac:picMkLst>
        </pc:picChg>
      </pc:sldChg>
      <pc:sldChg chg="addSp delSp modSp add mod">
        <pc:chgData name="Hemal Karmakar" userId="8e0c0607-2d2c-4176-b180-031f8940f0c7" providerId="ADAL" clId="{55DB41DD-0A20-4257-BEDE-3CACA6E74354}" dt="2023-03-22T02:48:51.996" v="5179" actId="732"/>
        <pc:sldMkLst>
          <pc:docMk/>
          <pc:sldMk cId="928031177" sldId="373"/>
        </pc:sldMkLst>
        <pc:spChg chg="del">
          <ac:chgData name="Hemal Karmakar" userId="8e0c0607-2d2c-4176-b180-031f8940f0c7" providerId="ADAL" clId="{55DB41DD-0A20-4257-BEDE-3CACA6E74354}" dt="2023-03-19T16:17:45.210" v="2371" actId="478"/>
          <ac:spMkLst>
            <pc:docMk/>
            <pc:sldMk cId="928031177" sldId="373"/>
            <ac:spMk id="2" creationId="{B86815C6-2068-9144-20D1-1F2867CC5F6F}"/>
          </ac:spMkLst>
        </pc:spChg>
        <pc:spChg chg="del">
          <ac:chgData name="Hemal Karmakar" userId="8e0c0607-2d2c-4176-b180-031f8940f0c7" providerId="ADAL" clId="{55DB41DD-0A20-4257-BEDE-3CACA6E74354}" dt="2023-03-19T16:17:45.210" v="2371" actId="478"/>
          <ac:spMkLst>
            <pc:docMk/>
            <pc:sldMk cId="928031177" sldId="373"/>
            <ac:spMk id="3" creationId="{0E96A3FF-12D8-485B-C462-54164624A17E}"/>
          </ac:spMkLst>
        </pc:spChg>
        <pc:spChg chg="mod">
          <ac:chgData name="Hemal Karmakar" userId="8e0c0607-2d2c-4176-b180-031f8940f0c7" providerId="ADAL" clId="{55DB41DD-0A20-4257-BEDE-3CACA6E74354}" dt="2023-03-19T16:19:03.303" v="2388" actId="1076"/>
          <ac:spMkLst>
            <pc:docMk/>
            <pc:sldMk cId="928031177" sldId="373"/>
            <ac:spMk id="5" creationId="{48464B25-6876-1472-388B-DB1CA15012FA}"/>
          </ac:spMkLst>
        </pc:spChg>
        <pc:spChg chg="del">
          <ac:chgData name="Hemal Karmakar" userId="8e0c0607-2d2c-4176-b180-031f8940f0c7" providerId="ADAL" clId="{55DB41DD-0A20-4257-BEDE-3CACA6E74354}" dt="2023-03-19T16:17:45.210" v="2371" actId="478"/>
          <ac:spMkLst>
            <pc:docMk/>
            <pc:sldMk cId="928031177" sldId="373"/>
            <ac:spMk id="6" creationId="{B5FB4D7B-82DC-FA97-74C4-495A63DE3447}"/>
          </ac:spMkLst>
        </pc:spChg>
        <pc:spChg chg="mod">
          <ac:chgData name="Hemal Karmakar" userId="8e0c0607-2d2c-4176-b180-031f8940f0c7" providerId="ADAL" clId="{55DB41DD-0A20-4257-BEDE-3CACA6E74354}" dt="2023-03-19T16:18:58.349" v="2387" actId="1076"/>
          <ac:spMkLst>
            <pc:docMk/>
            <pc:sldMk cId="928031177" sldId="373"/>
            <ac:spMk id="11" creationId="{3C1342CD-A7B8-89F1-07DC-94AA39B22473}"/>
          </ac:spMkLst>
        </pc:spChg>
        <pc:spChg chg="mod">
          <ac:chgData name="Hemal Karmakar" userId="8e0c0607-2d2c-4176-b180-031f8940f0c7" providerId="ADAL" clId="{55DB41DD-0A20-4257-BEDE-3CACA6E74354}" dt="2023-03-19T16:18:05.051" v="2377" actId="1076"/>
          <ac:spMkLst>
            <pc:docMk/>
            <pc:sldMk cId="928031177" sldId="373"/>
            <ac:spMk id="12" creationId="{1DF82C5B-31F9-372F-A3B3-7E5F7EE7D4E9}"/>
          </ac:spMkLst>
        </pc:spChg>
        <pc:spChg chg="add mod">
          <ac:chgData name="Hemal Karmakar" userId="8e0c0607-2d2c-4176-b180-031f8940f0c7" providerId="ADAL" clId="{55DB41DD-0A20-4257-BEDE-3CACA6E74354}" dt="2023-03-19T16:20:12.035" v="2389"/>
          <ac:spMkLst>
            <pc:docMk/>
            <pc:sldMk cId="928031177" sldId="373"/>
            <ac:spMk id="13" creationId="{C1A7CDFA-CBE4-A4AA-0B11-9E9BEE827855}"/>
          </ac:spMkLst>
        </pc:spChg>
        <pc:spChg chg="mod">
          <ac:chgData name="Hemal Karmakar" userId="8e0c0607-2d2c-4176-b180-031f8940f0c7" providerId="ADAL" clId="{55DB41DD-0A20-4257-BEDE-3CACA6E74354}" dt="2023-03-19T16:17:56.300" v="2375" actId="164"/>
          <ac:spMkLst>
            <pc:docMk/>
            <pc:sldMk cId="928031177" sldId="373"/>
            <ac:spMk id="15" creationId="{D8299BBC-A23D-77F4-C2DF-D774C062A82C}"/>
          </ac:spMkLst>
        </pc:spChg>
        <pc:spChg chg="del">
          <ac:chgData name="Hemal Karmakar" userId="8e0c0607-2d2c-4176-b180-031f8940f0c7" providerId="ADAL" clId="{55DB41DD-0A20-4257-BEDE-3CACA6E74354}" dt="2023-03-19T16:17:45.210" v="2371" actId="478"/>
          <ac:spMkLst>
            <pc:docMk/>
            <pc:sldMk cId="928031177" sldId="373"/>
            <ac:spMk id="18" creationId="{57E47331-A1E8-FA25-5347-A82714890554}"/>
          </ac:spMkLst>
        </pc:spChg>
        <pc:grpChg chg="del">
          <ac:chgData name="Hemal Karmakar" userId="8e0c0607-2d2c-4176-b180-031f8940f0c7" providerId="ADAL" clId="{55DB41DD-0A20-4257-BEDE-3CACA6E74354}" dt="2023-03-19T16:17:45.210" v="2371" actId="478"/>
          <ac:grpSpMkLst>
            <pc:docMk/>
            <pc:sldMk cId="928031177" sldId="373"/>
            <ac:grpSpMk id="8" creationId="{E05B4965-1857-0F23-1F6B-F1F644696A6A}"/>
          </ac:grpSpMkLst>
        </pc:grpChg>
        <pc:grpChg chg="add mod">
          <ac:chgData name="Hemal Karmakar" userId="8e0c0607-2d2c-4176-b180-031f8940f0c7" providerId="ADAL" clId="{55DB41DD-0A20-4257-BEDE-3CACA6E74354}" dt="2023-03-22T02:48:37.857" v="5178" actId="14100"/>
          <ac:grpSpMkLst>
            <pc:docMk/>
            <pc:sldMk cId="928031177" sldId="373"/>
            <ac:grpSpMk id="9" creationId="{6F9F28F5-1D31-6383-512F-006DF79BC95C}"/>
          </ac:grpSpMkLst>
        </pc:grpChg>
        <pc:grpChg chg="del">
          <ac:chgData name="Hemal Karmakar" userId="8e0c0607-2d2c-4176-b180-031f8940f0c7" providerId="ADAL" clId="{55DB41DD-0A20-4257-BEDE-3CACA6E74354}" dt="2023-03-19T16:17:45.210" v="2371" actId="478"/>
          <ac:grpSpMkLst>
            <pc:docMk/>
            <pc:sldMk cId="928031177" sldId="373"/>
            <ac:grpSpMk id="16" creationId="{CD534F1A-FA2D-52DB-D3A9-0200C6A957CB}"/>
          </ac:grpSpMkLst>
        </pc:grpChg>
        <pc:picChg chg="mod">
          <ac:chgData name="Hemal Karmakar" userId="8e0c0607-2d2c-4176-b180-031f8940f0c7" providerId="ADAL" clId="{55DB41DD-0A20-4257-BEDE-3CACA6E74354}" dt="2023-03-19T16:18:05.051" v="2377" actId="1076"/>
          <ac:picMkLst>
            <pc:docMk/>
            <pc:sldMk cId="928031177" sldId="373"/>
            <ac:picMk id="10" creationId="{345CC7A3-855E-9A4C-5F08-03456C9B1F23}"/>
          </ac:picMkLst>
        </pc:picChg>
        <pc:picChg chg="mod modCrop">
          <ac:chgData name="Hemal Karmakar" userId="8e0c0607-2d2c-4176-b180-031f8940f0c7" providerId="ADAL" clId="{55DB41DD-0A20-4257-BEDE-3CACA6E74354}" dt="2023-03-22T02:48:51.996" v="5179" actId="732"/>
          <ac:picMkLst>
            <pc:docMk/>
            <pc:sldMk cId="928031177" sldId="373"/>
            <ac:picMk id="14" creationId="{EDFF1492-FEE3-934E-0D74-EB41F87239A2}"/>
          </ac:picMkLst>
        </pc:picChg>
      </pc:sldChg>
      <pc:sldChg chg="addSp delSp modSp add mod">
        <pc:chgData name="Hemal Karmakar" userId="8e0c0607-2d2c-4176-b180-031f8940f0c7" providerId="ADAL" clId="{55DB41DD-0A20-4257-BEDE-3CACA6E74354}" dt="2023-03-22T06:29:29.223" v="6228" actId="1038"/>
        <pc:sldMkLst>
          <pc:docMk/>
          <pc:sldMk cId="3542163055" sldId="374"/>
        </pc:sldMkLst>
        <pc:spChg chg="mod">
          <ac:chgData name="Hemal Karmakar" userId="8e0c0607-2d2c-4176-b180-031f8940f0c7" providerId="ADAL" clId="{55DB41DD-0A20-4257-BEDE-3CACA6E74354}" dt="2023-03-22T06:29:29.223" v="6228" actId="1038"/>
          <ac:spMkLst>
            <pc:docMk/>
            <pc:sldMk cId="3542163055" sldId="374"/>
            <ac:spMk id="2" creationId="{1AB86024-3E45-11BF-1838-8A45CFC9FB95}"/>
          </ac:spMkLst>
        </pc:spChg>
        <pc:spChg chg="mod">
          <ac:chgData name="Hemal Karmakar" userId="8e0c0607-2d2c-4176-b180-031f8940f0c7" providerId="ADAL" clId="{55DB41DD-0A20-4257-BEDE-3CACA6E74354}" dt="2023-03-22T06:29:29.223" v="6228" actId="1038"/>
          <ac:spMkLst>
            <pc:docMk/>
            <pc:sldMk cId="3542163055" sldId="374"/>
            <ac:spMk id="5" creationId="{F017630A-C2FF-3B7F-400B-5E0BEC382793}"/>
          </ac:spMkLst>
        </pc:spChg>
        <pc:spChg chg="mod">
          <ac:chgData name="Hemal Karmakar" userId="8e0c0607-2d2c-4176-b180-031f8940f0c7" providerId="ADAL" clId="{55DB41DD-0A20-4257-BEDE-3CACA6E74354}" dt="2023-03-22T06:29:29.223" v="6228" actId="1038"/>
          <ac:spMkLst>
            <pc:docMk/>
            <pc:sldMk cId="3542163055" sldId="374"/>
            <ac:spMk id="8" creationId="{11A60480-BD26-958E-A8A7-6FF801234EA7}"/>
          </ac:spMkLst>
        </pc:spChg>
        <pc:spChg chg="add del">
          <ac:chgData name="Hemal Karmakar" userId="8e0c0607-2d2c-4176-b180-031f8940f0c7" providerId="ADAL" clId="{55DB41DD-0A20-4257-BEDE-3CACA6E74354}" dt="2023-03-21T19:29:14.700" v="4626" actId="22"/>
          <ac:spMkLst>
            <pc:docMk/>
            <pc:sldMk cId="3542163055" sldId="374"/>
            <ac:spMk id="9" creationId="{4275946E-A546-5D66-5DBB-5CB8FBAC2723}"/>
          </ac:spMkLst>
        </pc:spChg>
        <pc:spChg chg="add mod">
          <ac:chgData name="Hemal Karmakar" userId="8e0c0607-2d2c-4176-b180-031f8940f0c7" providerId="ADAL" clId="{55DB41DD-0A20-4257-BEDE-3CACA6E74354}" dt="2023-03-22T06:29:29.223" v="6228" actId="1038"/>
          <ac:spMkLst>
            <pc:docMk/>
            <pc:sldMk cId="3542163055" sldId="374"/>
            <ac:spMk id="11" creationId="{BA4138DF-003D-667F-2167-6ACF5614957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39D17-B2A6-44DB-BCBC-EA71E161FD72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DB1B33-3870-4FDF-AB6E-6A286919E3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3108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96F43F-D757-4D01-9D0B-7C1CA2E86CEC}" type="datetimeFigureOut">
              <a:rPr lang="en-US" smtClean="0"/>
              <a:t>3/2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816B1F-C048-4B77-895E-A0BA968F80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097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222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60610" y="3084285"/>
            <a:ext cx="2443080" cy="376143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9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3141568" y="0"/>
            <a:ext cx="2562545" cy="3450739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080192" y="0"/>
            <a:ext cx="6111808" cy="6858000"/>
          </a:xfrm>
          <a:custGeom>
            <a:avLst/>
            <a:gdLst>
              <a:gd name="connsiteX0" fmla="*/ 3853228 w 6111808"/>
              <a:gd name="connsiteY0" fmla="*/ 0 h 6858000"/>
              <a:gd name="connsiteX1" fmla="*/ 6111808 w 6111808"/>
              <a:gd name="connsiteY1" fmla="*/ 0 h 6858000"/>
              <a:gd name="connsiteX2" fmla="*/ 6111808 w 6111808"/>
              <a:gd name="connsiteY2" fmla="*/ 3026791 h 6858000"/>
              <a:gd name="connsiteX3" fmla="*/ 2280599 w 6111808"/>
              <a:gd name="connsiteY3" fmla="*/ 6858000 h 6858000"/>
              <a:gd name="connsiteX4" fmla="*/ 0 w 6111808"/>
              <a:gd name="connsiteY4" fmla="*/ 6858000 h 6858000"/>
              <a:gd name="connsiteX5" fmla="*/ 0 w 6111808"/>
              <a:gd name="connsiteY5" fmla="*/ 38532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11808" h="6858000">
                <a:moveTo>
                  <a:pt x="3853228" y="0"/>
                </a:moveTo>
                <a:lnTo>
                  <a:pt x="6111808" y="0"/>
                </a:lnTo>
                <a:lnTo>
                  <a:pt x="6111808" y="3026791"/>
                </a:lnTo>
                <a:lnTo>
                  <a:pt x="2280599" y="6858000"/>
                </a:lnTo>
                <a:lnTo>
                  <a:pt x="0" y="6858000"/>
                </a:lnTo>
                <a:lnTo>
                  <a:pt x="0" y="38532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8692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12191999" cy="6845715"/>
          </a:xfrm>
          <a:custGeom>
            <a:avLst/>
            <a:gdLst>
              <a:gd name="connsiteX0" fmla="*/ 2438401 w 12191999"/>
              <a:gd name="connsiteY0" fmla="*/ 2394858 h 6845715"/>
              <a:gd name="connsiteX1" fmla="*/ 2438401 w 12191999"/>
              <a:gd name="connsiteY1" fmla="*/ 4463144 h 6845715"/>
              <a:gd name="connsiteX2" fmla="*/ 9753600 w 12191999"/>
              <a:gd name="connsiteY2" fmla="*/ 4463144 h 6845715"/>
              <a:gd name="connsiteX3" fmla="*/ 9753600 w 12191999"/>
              <a:gd name="connsiteY3" fmla="*/ 2394858 h 6845715"/>
              <a:gd name="connsiteX4" fmla="*/ 0 w 12191999"/>
              <a:gd name="connsiteY4" fmla="*/ 0 h 6845715"/>
              <a:gd name="connsiteX5" fmla="*/ 12191999 w 12191999"/>
              <a:gd name="connsiteY5" fmla="*/ 0 h 6845715"/>
              <a:gd name="connsiteX6" fmla="*/ 12191999 w 12191999"/>
              <a:gd name="connsiteY6" fmla="*/ 6845715 h 6845715"/>
              <a:gd name="connsiteX7" fmla="*/ 0 w 12191999"/>
              <a:gd name="connsiteY7" fmla="*/ 6845715 h 684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45715">
                <a:moveTo>
                  <a:pt x="2438401" y="2394858"/>
                </a:moveTo>
                <a:lnTo>
                  <a:pt x="2438401" y="4463144"/>
                </a:lnTo>
                <a:lnTo>
                  <a:pt x="9753600" y="4463144"/>
                </a:lnTo>
                <a:lnTo>
                  <a:pt x="9753600" y="2394858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45715"/>
                </a:lnTo>
                <a:lnTo>
                  <a:pt x="0" y="684571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605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542357" y="2447260"/>
            <a:ext cx="5346700" cy="3156562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6132911" cy="5899216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690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669232" y="419100"/>
            <a:ext cx="4606636" cy="29718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839932" y="419100"/>
            <a:ext cx="4606636" cy="29718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33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936865" y="2350715"/>
            <a:ext cx="6352278" cy="360411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3301394" y="2514714"/>
            <a:ext cx="5552062" cy="1545695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73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5947721" y="1768803"/>
            <a:ext cx="1703673" cy="282883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566593" y="1996798"/>
            <a:ext cx="1323622" cy="2197790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972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322729" y="2055220"/>
            <a:ext cx="3883414" cy="2426252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984128" y="3466596"/>
            <a:ext cx="853857" cy="1414419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612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 rot="5400000">
            <a:off x="1568769" y="245517"/>
            <a:ext cx="2958460" cy="6095998"/>
          </a:xfrm>
          <a:prstGeom prst="trapezoid">
            <a:avLst>
              <a:gd name="adj" fmla="val 20094"/>
            </a:avLst>
          </a:prstGeo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1" name="Picture Placeholder 17"/>
          <p:cNvSpPr>
            <a:spLocks noGrp="1"/>
          </p:cNvSpPr>
          <p:nvPr>
            <p:ph type="pic" sz="quarter" idx="15"/>
          </p:nvPr>
        </p:nvSpPr>
        <p:spPr>
          <a:xfrm rot="16200000" flipH="1">
            <a:off x="7664771" y="245517"/>
            <a:ext cx="2958460" cy="6095998"/>
          </a:xfrm>
          <a:prstGeom prst="trapezoid">
            <a:avLst>
              <a:gd name="adj" fmla="val 20094"/>
            </a:avLst>
          </a:prstGeo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5467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904" y="-609600"/>
            <a:ext cx="12182588" cy="4394200"/>
          </a:xfrm>
          <a:custGeom>
            <a:avLst/>
            <a:gdLst>
              <a:gd name="connsiteX0" fmla="*/ 0 w 12182588"/>
              <a:gd name="connsiteY0" fmla="*/ 0 h 4394200"/>
              <a:gd name="connsiteX1" fmla="*/ 12182588 w 12182588"/>
              <a:gd name="connsiteY1" fmla="*/ 0 h 4394200"/>
              <a:gd name="connsiteX2" fmla="*/ 12170099 w 12182588"/>
              <a:gd name="connsiteY2" fmla="*/ 246418 h 4394200"/>
              <a:gd name="connsiteX3" fmla="*/ 8468731 w 12182588"/>
              <a:gd name="connsiteY3" fmla="*/ 4039144 h 4394200"/>
              <a:gd name="connsiteX4" fmla="*/ 3698990 w 12182588"/>
              <a:gd name="connsiteY4" fmla="*/ 4034621 h 4394200"/>
              <a:gd name="connsiteX5" fmla="*/ 10265 w 12182588"/>
              <a:gd name="connsiteY5" fmla="*/ 228043 h 439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2588" h="4394200">
                <a:moveTo>
                  <a:pt x="0" y="0"/>
                </a:moveTo>
                <a:lnTo>
                  <a:pt x="12182588" y="0"/>
                </a:lnTo>
                <a:lnTo>
                  <a:pt x="12170099" y="246418"/>
                </a:lnTo>
                <a:cubicBezTo>
                  <a:pt x="12000971" y="1910948"/>
                  <a:pt x="10581911" y="3380873"/>
                  <a:pt x="8468731" y="4039144"/>
                </a:cubicBezTo>
                <a:cubicBezTo>
                  <a:pt x="6943972" y="4514118"/>
                  <a:pt x="5222080" y="4512485"/>
                  <a:pt x="3698990" y="4034621"/>
                </a:cubicBezTo>
                <a:cubicBezTo>
                  <a:pt x="1584989" y="3371361"/>
                  <a:pt x="170318" y="1895488"/>
                  <a:pt x="10265" y="228043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rgbClr val="27AAE1"/>
            </a:solidFill>
            <a:prstDash val="dash"/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973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904" y="-609600"/>
            <a:ext cx="12182588" cy="4394200"/>
          </a:xfrm>
          <a:custGeom>
            <a:avLst/>
            <a:gdLst>
              <a:gd name="connsiteX0" fmla="*/ 0 w 12182588"/>
              <a:gd name="connsiteY0" fmla="*/ 0 h 4394200"/>
              <a:gd name="connsiteX1" fmla="*/ 12182588 w 12182588"/>
              <a:gd name="connsiteY1" fmla="*/ 0 h 4394200"/>
              <a:gd name="connsiteX2" fmla="*/ 12170099 w 12182588"/>
              <a:gd name="connsiteY2" fmla="*/ 246418 h 4394200"/>
              <a:gd name="connsiteX3" fmla="*/ 8468731 w 12182588"/>
              <a:gd name="connsiteY3" fmla="*/ 4039144 h 4394200"/>
              <a:gd name="connsiteX4" fmla="*/ 3698990 w 12182588"/>
              <a:gd name="connsiteY4" fmla="*/ 4034621 h 4394200"/>
              <a:gd name="connsiteX5" fmla="*/ 10265 w 12182588"/>
              <a:gd name="connsiteY5" fmla="*/ 228043 h 439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2588" h="4394200">
                <a:moveTo>
                  <a:pt x="0" y="0"/>
                </a:moveTo>
                <a:lnTo>
                  <a:pt x="12182588" y="0"/>
                </a:lnTo>
                <a:lnTo>
                  <a:pt x="12170099" y="246418"/>
                </a:lnTo>
                <a:cubicBezTo>
                  <a:pt x="12000971" y="1910948"/>
                  <a:pt x="10581911" y="3380873"/>
                  <a:pt x="8468731" y="4039144"/>
                </a:cubicBezTo>
                <a:cubicBezTo>
                  <a:pt x="6943972" y="4514118"/>
                  <a:pt x="5222080" y="4512485"/>
                  <a:pt x="3698990" y="4034621"/>
                </a:cubicBezTo>
                <a:cubicBezTo>
                  <a:pt x="1584989" y="3371361"/>
                  <a:pt x="170318" y="1895488"/>
                  <a:pt x="10265" y="228043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rgbClr val="27AAE1"/>
            </a:solidFill>
            <a:prstDash val="dash"/>
          </a:ln>
        </p:spPr>
        <p:txBody>
          <a:bodyPr wrap="square">
            <a:noAutofit/>
          </a:bodyPr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45000" y="2133600"/>
            <a:ext cx="3314700" cy="2108200"/>
          </a:xfr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790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402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7347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494337" y="1663645"/>
            <a:ext cx="4136571" cy="3729628"/>
          </a:xfrm>
          <a:solidFill>
            <a:schemeClr val="tx1">
              <a:lumMod val="65000"/>
              <a:lumOff val="35000"/>
            </a:schemeClr>
          </a:solidFill>
        </p:spPr>
        <p:txBody>
          <a:bodyPr/>
          <a:lstStyle>
            <a:lvl1pPr marL="0" indent="0" algn="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291770" y="1663645"/>
            <a:ext cx="4136572" cy="37296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647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3899185" y="1650085"/>
            <a:ext cx="4368230" cy="331611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9547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2064009"/>
            <a:ext cx="5373750" cy="356325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2503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358932" y="2495864"/>
            <a:ext cx="1979862" cy="1866271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439381" y="544615"/>
            <a:ext cx="1979862" cy="1866271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0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439380" y="4447115"/>
            <a:ext cx="1979862" cy="1866271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535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6357704" y="4604102"/>
            <a:ext cx="1409699" cy="1190545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857750" y="1794375"/>
            <a:ext cx="1020536" cy="861881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5878286" y="1465711"/>
            <a:ext cx="1889118" cy="1190545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460998" y="2656256"/>
            <a:ext cx="2306405" cy="1947846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4051298" y="2656256"/>
            <a:ext cx="1409699" cy="1190545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7767404" y="3413556"/>
            <a:ext cx="1409700" cy="1190546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1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7767404" y="4604102"/>
            <a:ext cx="1020536" cy="861881"/>
          </a:xfr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9631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659763" y="1486638"/>
            <a:ext cx="2427822" cy="2427822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85320" y="1131314"/>
            <a:ext cx="1551630" cy="155163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2880960" y="2708943"/>
            <a:ext cx="2427822" cy="2427822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561859" y="1132024"/>
            <a:ext cx="2067416" cy="2067416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4606377" y="2173507"/>
            <a:ext cx="2061022" cy="206908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639660" y="1296991"/>
            <a:ext cx="1734185" cy="1731132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4530366" y="3935554"/>
            <a:ext cx="1569532" cy="1575668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869485" y="2699418"/>
            <a:ext cx="1551630" cy="1551630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1435904" y="3468694"/>
            <a:ext cx="1952067" cy="1952067"/>
          </a:xfrm>
          <a:prstGeom prst="diamond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8432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bg1">
              <a:lumMod val="50000"/>
              <a:alpha val="6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683026" y="2812795"/>
            <a:ext cx="1712054" cy="1712468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883431" y="2812795"/>
            <a:ext cx="1712054" cy="1712468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58413" y="2812795"/>
            <a:ext cx="1712054" cy="1712468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033395" y="2812795"/>
            <a:ext cx="1712054" cy="1712468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1122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609226" y="374134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302343" y="374134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079350" y="374134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609226" y="193145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302343" y="193145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079350" y="1931451"/>
            <a:ext cx="1336275" cy="1336600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7280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7"/>
          <p:cNvSpPr>
            <a:spLocks noGrp="1"/>
          </p:cNvSpPr>
          <p:nvPr>
            <p:ph type="pic" sz="quarter" idx="15"/>
          </p:nvPr>
        </p:nvSpPr>
        <p:spPr>
          <a:xfrm rot="5400000" flipH="1">
            <a:off x="-487094" y="2737316"/>
            <a:ext cx="2996251" cy="2022066"/>
          </a:xfrm>
          <a:prstGeom prst="trapezoid">
            <a:avLst>
              <a:gd name="adj" fmla="val 9926"/>
            </a:avLst>
          </a:prstGeo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1" name="Picture Placeholder 17"/>
          <p:cNvSpPr>
            <a:spLocks noGrp="1"/>
          </p:cNvSpPr>
          <p:nvPr>
            <p:ph type="pic" sz="quarter" idx="16"/>
          </p:nvPr>
        </p:nvSpPr>
        <p:spPr>
          <a:xfrm rot="16200000">
            <a:off x="9682843" y="2737317"/>
            <a:ext cx="2996251" cy="2022066"/>
          </a:xfrm>
          <a:prstGeom prst="trapezoid">
            <a:avLst>
              <a:gd name="adj" fmla="val 9926"/>
            </a:avLst>
          </a:prstGeo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8096895" y="2468524"/>
            <a:ext cx="2073041" cy="2559648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022066" y="2468524"/>
            <a:ext cx="2073041" cy="2559648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81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3324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68318" y="0"/>
            <a:ext cx="4572001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055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bg1">
              <a:lumMod val="50000"/>
              <a:alpha val="6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806826" y="1913642"/>
            <a:ext cx="3374774" cy="337477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937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094514"/>
          </a:xfrm>
          <a:solidFill>
            <a:schemeClr val="bg1">
              <a:lumMod val="50000"/>
              <a:alpha val="6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2049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234860" y="1491374"/>
            <a:ext cx="945354" cy="94535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557835" y="3343112"/>
            <a:ext cx="1328740" cy="13287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297601" y="2860041"/>
            <a:ext cx="1062432" cy="10624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442774" y="3875641"/>
            <a:ext cx="836136" cy="83613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531423" y="4717977"/>
            <a:ext cx="1067090" cy="10670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70322" y="4936331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697437" y="4996738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7469350" y="3782217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7814549" y="2563892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8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947297" y="1559006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627533" y="1891820"/>
            <a:ext cx="930114" cy="93011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028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173867" y="1367067"/>
            <a:ext cx="1157426" cy="123428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568927" y="1622861"/>
            <a:ext cx="705580" cy="733637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 dirty="0"/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789489" y="1164924"/>
            <a:ext cx="1233496" cy="1288536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220007" y="2090990"/>
            <a:ext cx="905321" cy="965435"/>
          </a:xfr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4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68983" y="1764371"/>
            <a:ext cx="1015933" cy="105505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320050" y="3316362"/>
            <a:ext cx="1512150" cy="1553539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562400" y="2585844"/>
            <a:ext cx="1380784" cy="1454555"/>
          </a:xfr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431981" y="3589991"/>
            <a:ext cx="1916288" cy="2026159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4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648880" y="2470425"/>
            <a:ext cx="1784220" cy="1878911"/>
          </a:xfrm>
          <a:solidFill>
            <a:schemeClr val="bg1">
              <a:lumMod val="6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9676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Blan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093509" y="1339409"/>
            <a:ext cx="4166896" cy="4166896"/>
          </a:xfrm>
          <a:custGeom>
            <a:avLst/>
            <a:gdLst>
              <a:gd name="connsiteX0" fmla="*/ 2083449 w 4166896"/>
              <a:gd name="connsiteY0" fmla="*/ 1556232 h 4166896"/>
              <a:gd name="connsiteX1" fmla="*/ 1556233 w 4166896"/>
              <a:gd name="connsiteY1" fmla="*/ 2083448 h 4166896"/>
              <a:gd name="connsiteX2" fmla="*/ 2083449 w 4166896"/>
              <a:gd name="connsiteY2" fmla="*/ 2610664 h 4166896"/>
              <a:gd name="connsiteX3" fmla="*/ 2610665 w 4166896"/>
              <a:gd name="connsiteY3" fmla="*/ 2083448 h 4166896"/>
              <a:gd name="connsiteX4" fmla="*/ 2083449 w 4166896"/>
              <a:gd name="connsiteY4" fmla="*/ 1556232 h 4166896"/>
              <a:gd name="connsiteX5" fmla="*/ 2083448 w 4166896"/>
              <a:gd name="connsiteY5" fmla="*/ 0 h 4166896"/>
              <a:gd name="connsiteX6" fmla="*/ 4166896 w 4166896"/>
              <a:gd name="connsiteY6" fmla="*/ 2083448 h 4166896"/>
              <a:gd name="connsiteX7" fmla="*/ 2083448 w 4166896"/>
              <a:gd name="connsiteY7" fmla="*/ 4166896 h 4166896"/>
              <a:gd name="connsiteX8" fmla="*/ 0 w 4166896"/>
              <a:gd name="connsiteY8" fmla="*/ 2083448 h 4166896"/>
              <a:gd name="connsiteX9" fmla="*/ 2083448 w 4166896"/>
              <a:gd name="connsiteY9" fmla="*/ 0 h 4166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66896" h="4166896">
                <a:moveTo>
                  <a:pt x="2083449" y="1556232"/>
                </a:moveTo>
                <a:cubicBezTo>
                  <a:pt x="1792276" y="1556232"/>
                  <a:pt x="1556233" y="1792275"/>
                  <a:pt x="1556233" y="2083448"/>
                </a:cubicBezTo>
                <a:cubicBezTo>
                  <a:pt x="1556233" y="2374621"/>
                  <a:pt x="1792276" y="2610664"/>
                  <a:pt x="2083449" y="2610664"/>
                </a:cubicBezTo>
                <a:cubicBezTo>
                  <a:pt x="2374622" y="2610664"/>
                  <a:pt x="2610665" y="2374621"/>
                  <a:pt x="2610665" y="2083448"/>
                </a:cubicBezTo>
                <a:cubicBezTo>
                  <a:pt x="2610665" y="1792275"/>
                  <a:pt x="2374622" y="1556232"/>
                  <a:pt x="2083449" y="1556232"/>
                </a:cubicBezTo>
                <a:close/>
                <a:moveTo>
                  <a:pt x="2083448" y="0"/>
                </a:moveTo>
                <a:cubicBezTo>
                  <a:pt x="3234105" y="0"/>
                  <a:pt x="4166896" y="932791"/>
                  <a:pt x="4166896" y="2083448"/>
                </a:cubicBezTo>
                <a:cubicBezTo>
                  <a:pt x="4166896" y="3234105"/>
                  <a:pt x="3234105" y="4166896"/>
                  <a:pt x="2083448" y="4166896"/>
                </a:cubicBezTo>
                <a:cubicBezTo>
                  <a:pt x="932791" y="4166896"/>
                  <a:pt x="0" y="3234105"/>
                  <a:pt x="0" y="2083448"/>
                </a:cubicBezTo>
                <a:cubicBezTo>
                  <a:pt x="0" y="932791"/>
                  <a:pt x="932791" y="0"/>
                  <a:pt x="208344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775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bg1">
              <a:lumMod val="50000"/>
              <a:alpha val="6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9361" y="1734366"/>
            <a:ext cx="3624339" cy="3625215"/>
          </a:xfrm>
          <a:prstGeom prst="diamond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2384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bg1">
              <a:lumMod val="50000"/>
              <a:alpha val="6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160463" y="2032000"/>
            <a:ext cx="2860675" cy="278606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957583" y="2032000"/>
            <a:ext cx="2860675" cy="278606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7312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-1" y="4474410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5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2438398" y="4474410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6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4876796" y="4474410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7" name="Picture Placeholder 16"/>
          <p:cNvSpPr>
            <a:spLocks noGrp="1"/>
          </p:cNvSpPr>
          <p:nvPr>
            <p:ph type="pic" sz="quarter" idx="23"/>
          </p:nvPr>
        </p:nvSpPr>
        <p:spPr>
          <a:xfrm>
            <a:off x="7315199" y="4474410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8" name="Picture Placeholder 16"/>
          <p:cNvSpPr>
            <a:spLocks noGrp="1"/>
          </p:cNvSpPr>
          <p:nvPr>
            <p:ph type="pic" sz="quarter" idx="24"/>
          </p:nvPr>
        </p:nvSpPr>
        <p:spPr>
          <a:xfrm>
            <a:off x="9753594" y="4474410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2438398" y="-1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876796" y="-1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7315199" y="-1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9753594" y="-1"/>
            <a:ext cx="2438399" cy="239485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2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-1" y="2394856"/>
            <a:ext cx="2438399" cy="206828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9753601" y="2394856"/>
            <a:ext cx="2438399" cy="2068287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63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18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1492223"/>
            <a:ext cx="12192000" cy="4772976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6557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2191999" cy="6160512"/>
          </a:xfrm>
          <a:custGeom>
            <a:avLst/>
            <a:gdLst>
              <a:gd name="connsiteX0" fmla="*/ 0 w 12191999"/>
              <a:gd name="connsiteY0" fmla="*/ 0 h 6160512"/>
              <a:gd name="connsiteX1" fmla="*/ 12191999 w 12191999"/>
              <a:gd name="connsiteY1" fmla="*/ 0 h 6160512"/>
              <a:gd name="connsiteX2" fmla="*/ 12191999 w 12191999"/>
              <a:gd name="connsiteY2" fmla="*/ 5668811 h 6160512"/>
              <a:gd name="connsiteX3" fmla="*/ 11724557 w 12191999"/>
              <a:gd name="connsiteY3" fmla="*/ 5668811 h 6160512"/>
              <a:gd name="connsiteX4" fmla="*/ 11364934 w 12191999"/>
              <a:gd name="connsiteY4" fmla="*/ 6160512 h 6160512"/>
              <a:gd name="connsiteX5" fmla="*/ 0 w 12191999"/>
              <a:gd name="connsiteY5" fmla="*/ 6160512 h 6160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9" h="6160512">
                <a:moveTo>
                  <a:pt x="0" y="0"/>
                </a:moveTo>
                <a:lnTo>
                  <a:pt x="12191999" y="0"/>
                </a:lnTo>
                <a:lnTo>
                  <a:pt x="12191999" y="5668811"/>
                </a:lnTo>
                <a:lnTo>
                  <a:pt x="11724557" y="5668811"/>
                </a:lnTo>
                <a:lnTo>
                  <a:pt x="11364934" y="6160512"/>
                </a:lnTo>
                <a:lnTo>
                  <a:pt x="0" y="616051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153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4530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375" y="1320800"/>
            <a:ext cx="8012113" cy="5732463"/>
          </a:xfrm>
          <a:solidFill>
            <a:schemeClr val="tx1">
              <a:lumMod val="85000"/>
              <a:lumOff val="1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4163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62701" y="153675"/>
            <a:ext cx="11866600" cy="6550652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2660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574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8346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647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0" y="1919679"/>
            <a:ext cx="12192000" cy="2459786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071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370510" y="0"/>
            <a:ext cx="2169612" cy="2737865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6080192" y="0"/>
            <a:ext cx="6111808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470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83416" y="0"/>
            <a:ext cx="3711211" cy="6845715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001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83128" y="59582"/>
            <a:ext cx="4987636" cy="6738837"/>
          </a:xfrm>
          <a:solidFill>
            <a:schemeClr val="bg1">
              <a:lumMod val="50000"/>
              <a:alpha val="7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84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11236081" y="6483829"/>
            <a:ext cx="955920" cy="377967"/>
            <a:chOff x="11236081" y="6503705"/>
            <a:chExt cx="955920" cy="377967"/>
          </a:xfrm>
        </p:grpSpPr>
        <p:sp>
          <p:nvSpPr>
            <p:cNvPr id="16" name="Freeform 15"/>
            <p:cNvSpPr/>
            <p:nvPr userDrawn="1"/>
          </p:nvSpPr>
          <p:spPr>
            <a:xfrm>
              <a:off x="11236081" y="6503705"/>
              <a:ext cx="827067" cy="377967"/>
            </a:xfrm>
            <a:custGeom>
              <a:avLst/>
              <a:gdLst>
                <a:gd name="connsiteX0" fmla="*/ 359623 w 827067"/>
                <a:gd name="connsiteY0" fmla="*/ 0 h 377967"/>
                <a:gd name="connsiteX1" fmla="*/ 827067 w 827067"/>
                <a:gd name="connsiteY1" fmla="*/ 0 h 377967"/>
                <a:gd name="connsiteX2" fmla="*/ 827067 w 827067"/>
                <a:gd name="connsiteY2" fmla="*/ 377967 h 377967"/>
                <a:gd name="connsiteX3" fmla="*/ 0 w 827067"/>
                <a:gd name="connsiteY3" fmla="*/ 377967 h 377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067" h="377967">
                  <a:moveTo>
                    <a:pt x="359623" y="0"/>
                  </a:moveTo>
                  <a:lnTo>
                    <a:pt x="827067" y="0"/>
                  </a:lnTo>
                  <a:lnTo>
                    <a:pt x="827067" y="377967"/>
                  </a:lnTo>
                  <a:lnTo>
                    <a:pt x="0" y="377967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/>
            <p:nvPr userDrawn="1"/>
          </p:nvSpPr>
          <p:spPr>
            <a:xfrm>
              <a:off x="11364934" y="6503705"/>
              <a:ext cx="827067" cy="377967"/>
            </a:xfrm>
            <a:custGeom>
              <a:avLst/>
              <a:gdLst>
                <a:gd name="connsiteX0" fmla="*/ 359623 w 827067"/>
                <a:gd name="connsiteY0" fmla="*/ 0 h 377967"/>
                <a:gd name="connsiteX1" fmla="*/ 827067 w 827067"/>
                <a:gd name="connsiteY1" fmla="*/ 0 h 377967"/>
                <a:gd name="connsiteX2" fmla="*/ 827067 w 827067"/>
                <a:gd name="connsiteY2" fmla="*/ 377967 h 377967"/>
                <a:gd name="connsiteX3" fmla="*/ 0 w 827067"/>
                <a:gd name="connsiteY3" fmla="*/ 377967 h 377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7067" h="377967">
                  <a:moveTo>
                    <a:pt x="359623" y="0"/>
                  </a:moveTo>
                  <a:lnTo>
                    <a:pt x="827067" y="0"/>
                  </a:lnTo>
                  <a:lnTo>
                    <a:pt x="827067" y="377967"/>
                  </a:lnTo>
                  <a:lnTo>
                    <a:pt x="0" y="37796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586116" y="6492875"/>
            <a:ext cx="6058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75000"/>
                  </a:schemeClr>
                </a:solidFill>
                <a:latin typeface="+mj-lt"/>
                <a:ea typeface="Roboto Light" panose="02000000000000000000" pitchFamily="2" charset="0"/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1"/>
          <p:cNvSpPr txBox="1">
            <a:spLocks/>
          </p:cNvSpPr>
          <p:nvPr userDrawn="1">
            <p:custDataLst>
              <p:tags r:id="rId45"/>
            </p:custDataLst>
          </p:nvPr>
        </p:nvSpPr>
        <p:spPr>
          <a:xfrm>
            <a:off x="9715500" y="6542088"/>
            <a:ext cx="1649413" cy="261937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bg1">
                    <a:lumMod val="65000"/>
                  </a:schemeClr>
                </a:solidFill>
                <a:latin typeface="+mj-lt"/>
                <a:ea typeface="Roboto Light" panose="02000000000000000000" pitchFamily="2" charset="0"/>
              </a:rPr>
              <a:t>www.fashionstreet.com</a:t>
            </a:r>
          </a:p>
        </p:txBody>
      </p:sp>
    </p:spTree>
    <p:extLst>
      <p:ext uri="{BB962C8B-B14F-4D97-AF65-F5344CB8AC3E}">
        <p14:creationId xmlns:p14="http://schemas.microsoft.com/office/powerpoint/2010/main" val="1972349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3" r:id="rId4"/>
    <p:sldLayoutId id="2147483666" r:id="rId5"/>
    <p:sldLayoutId id="2147483690" r:id="rId6"/>
    <p:sldLayoutId id="2147483664" r:id="rId7"/>
    <p:sldLayoutId id="2147483686" r:id="rId8"/>
    <p:sldLayoutId id="2147483689" r:id="rId9"/>
    <p:sldLayoutId id="2147483665" r:id="rId10"/>
    <p:sldLayoutId id="2147483655" r:id="rId11"/>
    <p:sldLayoutId id="2147483667" r:id="rId12"/>
    <p:sldLayoutId id="2147483668" r:id="rId13"/>
    <p:sldLayoutId id="2147483695" r:id="rId14"/>
    <p:sldLayoutId id="2147483692" r:id="rId15"/>
    <p:sldLayoutId id="2147483694" r:id="rId16"/>
    <p:sldLayoutId id="2147483669" r:id="rId17"/>
    <p:sldLayoutId id="2147483691" r:id="rId18"/>
    <p:sldLayoutId id="2147483693" r:id="rId19"/>
    <p:sldLayoutId id="2147483670" r:id="rId20"/>
    <p:sldLayoutId id="2147483674" r:id="rId21"/>
    <p:sldLayoutId id="2147483680" r:id="rId22"/>
    <p:sldLayoutId id="2147483688" r:id="rId23"/>
    <p:sldLayoutId id="2147483681" r:id="rId24"/>
    <p:sldLayoutId id="2147483683" r:id="rId25"/>
    <p:sldLayoutId id="2147483684" r:id="rId26"/>
    <p:sldLayoutId id="2147483672" r:id="rId27"/>
    <p:sldLayoutId id="2147483687" r:id="rId28"/>
    <p:sldLayoutId id="2147483679" r:id="rId29"/>
    <p:sldLayoutId id="2147483671" r:id="rId30"/>
    <p:sldLayoutId id="2147483675" r:id="rId31"/>
    <p:sldLayoutId id="2147483696" r:id="rId32"/>
    <p:sldLayoutId id="2147483676" r:id="rId33"/>
    <p:sldLayoutId id="2147483677" r:id="rId34"/>
    <p:sldLayoutId id="2147483685" r:id="rId35"/>
    <p:sldLayoutId id="2147483673" r:id="rId36"/>
    <p:sldLayoutId id="2147483678" r:id="rId37"/>
    <p:sldLayoutId id="2147483662" r:id="rId38"/>
    <p:sldLayoutId id="2147483661" r:id="rId39"/>
    <p:sldLayoutId id="2147483698" r:id="rId40"/>
    <p:sldLayoutId id="2147483697" r:id="rId41"/>
    <p:sldLayoutId id="2147483682" r:id="rId42"/>
    <p:sldLayoutId id="2147483660" r:id="rId43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>
              <a:lumMod val="65000"/>
              <a:lumOff val="35000"/>
            </a:schemeClr>
          </a:solidFill>
          <a:latin typeface="Bebas Neue" panose="020B0606020202050201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j-lt"/>
          <a:ea typeface="Roboto Light" panose="02000000000000000000" pitchFamily="2" charset="0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Roboto Light" panose="02000000000000000000" pitchFamily="2" charset="0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j-lt"/>
          <a:ea typeface="Roboto Light" panose="02000000000000000000" pitchFamily="2" charset="0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Roboto Light" panose="02000000000000000000" pitchFamily="2" charset="0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Roboto Light" panose="02000000000000000000" pitchFamily="2" charset="0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 userDrawn="1"/>
        </p:nvSpPr>
        <p:spPr>
          <a:xfrm flipV="1">
            <a:off x="1137645" y="2059958"/>
            <a:ext cx="1263632" cy="1186971"/>
          </a:xfrm>
          <a:custGeom>
            <a:avLst/>
            <a:gdLst>
              <a:gd name="connsiteX0" fmla="*/ 359623 w 827067"/>
              <a:gd name="connsiteY0" fmla="*/ 0 h 377967"/>
              <a:gd name="connsiteX1" fmla="*/ 827067 w 827067"/>
              <a:gd name="connsiteY1" fmla="*/ 0 h 377967"/>
              <a:gd name="connsiteX2" fmla="*/ 827067 w 827067"/>
              <a:gd name="connsiteY2" fmla="*/ 377967 h 377967"/>
              <a:gd name="connsiteX3" fmla="*/ 0 w 827067"/>
              <a:gd name="connsiteY3" fmla="*/ 377967 h 377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7067" h="377967">
                <a:moveTo>
                  <a:pt x="359623" y="0"/>
                </a:moveTo>
                <a:lnTo>
                  <a:pt x="827067" y="0"/>
                </a:lnTo>
                <a:lnTo>
                  <a:pt x="827067" y="377967"/>
                </a:lnTo>
                <a:lnTo>
                  <a:pt x="0" y="37796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2401276" y="1861802"/>
            <a:ext cx="7998576" cy="1646776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1000"/>
              </a:spcBef>
              <a:defRPr sz="9600" b="1" spc="-200">
                <a:solidFill>
                  <a:schemeClr val="bg1"/>
                </a:solidFill>
                <a:latin typeface="Bebas Neue" panose="020B0606020202050201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Options trading activity </a:t>
            </a:r>
          </a:p>
          <a:p>
            <a:r>
              <a:rPr lang="en-US" sz="44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and firm valuation</a:t>
            </a:r>
            <a:endParaRPr lang="id-ID" sz="4400" dirty="0">
              <a:solidFill>
                <a:schemeClr val="accent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2401276" y="3365019"/>
            <a:ext cx="0" cy="78598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460165" y="3274365"/>
            <a:ext cx="2482225" cy="888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latin typeface="Century Gothic" panose="020B0502020202020204" pitchFamily="34" charset="0"/>
              </a:rPr>
              <a:t>Richard Roll</a:t>
            </a:r>
          </a:p>
          <a:p>
            <a:pPr>
              <a:lnSpc>
                <a:spcPct val="150000"/>
              </a:lnSpc>
            </a:pPr>
            <a:r>
              <a:rPr lang="en-US" sz="1200" dirty="0">
                <a:latin typeface="Century Gothic" panose="020B0502020202020204" pitchFamily="34" charset="0"/>
              </a:rPr>
              <a:t>Eduardo Schwartz</a:t>
            </a:r>
          </a:p>
          <a:p>
            <a:pPr>
              <a:lnSpc>
                <a:spcPct val="150000"/>
              </a:lnSpc>
            </a:pPr>
            <a:r>
              <a:rPr lang="en-US" sz="1200" dirty="0" err="1">
                <a:latin typeface="Century Gothic" panose="020B0502020202020204" pitchFamily="34" charset="0"/>
              </a:rPr>
              <a:t>Avanidhar</a:t>
            </a:r>
            <a:r>
              <a:rPr lang="en-US" sz="1200" dirty="0">
                <a:latin typeface="Century Gothic" panose="020B0502020202020204" pitchFamily="34" charset="0"/>
              </a:rPr>
              <a:t> Subrahmanyam</a:t>
            </a:r>
            <a:endParaRPr lang="id-ID" sz="12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9C772B-6D74-810E-E3BF-1EBE10C3BD8F}"/>
              </a:ext>
            </a:extLst>
          </p:cNvPr>
          <p:cNvSpPr txBox="1"/>
          <p:nvPr/>
        </p:nvSpPr>
        <p:spPr>
          <a:xfrm>
            <a:off x="1006978" y="3304205"/>
            <a:ext cx="13683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b="1" dirty="0">
                <a:latin typeface="Century Gothic" panose="020B0502020202020204" pitchFamily="34" charset="0"/>
              </a:rPr>
              <a:t>Journal of Financial Economics</a:t>
            </a:r>
          </a:p>
        </p:txBody>
      </p:sp>
    </p:spTree>
    <p:extLst>
      <p:ext uri="{BB962C8B-B14F-4D97-AF65-F5344CB8AC3E}">
        <p14:creationId xmlns:p14="http://schemas.microsoft.com/office/powerpoint/2010/main" val="8708670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2171495" y="247023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Empirical 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analy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EC068E-449E-E07F-8295-7ED707D4D11F}"/>
              </a:ext>
            </a:extLst>
          </p:cNvPr>
          <p:cNvGrpSpPr/>
          <p:nvPr/>
        </p:nvGrpSpPr>
        <p:grpSpPr>
          <a:xfrm>
            <a:off x="-332950" y="0"/>
            <a:ext cx="2261240" cy="6858000"/>
            <a:chOff x="-101700" y="1525237"/>
            <a:chExt cx="2261240" cy="5085740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D10D265-A724-78D3-2365-50A8EC64BF51}"/>
                </a:ext>
              </a:extLst>
            </p:cNvPr>
            <p:cNvSpPr/>
            <p:nvPr/>
          </p:nvSpPr>
          <p:spPr>
            <a:xfrm>
              <a:off x="-101700" y="1525237"/>
              <a:ext cx="2261240" cy="5085740"/>
            </a:xfrm>
            <a:prstGeom prst="round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0B7DCD6-1E4B-AE8F-3BC6-0527F587AAB6}"/>
                </a:ext>
              </a:extLst>
            </p:cNvPr>
            <p:cNvSpPr txBox="1"/>
            <p:nvPr/>
          </p:nvSpPr>
          <p:spPr>
            <a:xfrm>
              <a:off x="191951" y="3478758"/>
              <a:ext cx="190013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Calibri" panose="020F0502020204030204" pitchFamily="34" charset="0"/>
                </a:rPr>
                <a:t>(II) 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Robustness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checks</a:t>
              </a:r>
              <a:endParaRPr lang="en-US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C1342CD-A7B8-89F1-07DC-94AA39B22473}"/>
              </a:ext>
            </a:extLst>
          </p:cNvPr>
          <p:cNvSpPr txBox="1"/>
          <p:nvPr/>
        </p:nvSpPr>
        <p:spPr>
          <a:xfrm>
            <a:off x="2171495" y="1142191"/>
            <a:ext cx="70010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Century Gothic" panose="020B0502020202020204" pitchFamily="34" charset="0"/>
                <a:ea typeface="Calibri" panose="020F0502020204030204" pitchFamily="34" charset="0"/>
              </a:rPr>
              <a:t>4</a:t>
            </a:r>
            <a:r>
              <a:rPr lang="en-US" sz="18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) Year-by-year regression coefficients and industry control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B2967F-476D-4044-9FF2-53E078CE3C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0949"/>
          <a:stretch/>
        </p:blipFill>
        <p:spPr>
          <a:xfrm>
            <a:off x="2066438" y="2106362"/>
            <a:ext cx="5217437" cy="29402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0549A0-7846-0FF3-A3E4-716C94847F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348"/>
          <a:stretch/>
        </p:blipFill>
        <p:spPr>
          <a:xfrm>
            <a:off x="7337913" y="2106361"/>
            <a:ext cx="4749437" cy="294020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9370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42885F0E-62BA-9415-298B-D0A9FC7D27EE}"/>
              </a:ext>
            </a:extLst>
          </p:cNvPr>
          <p:cNvSpPr txBox="1"/>
          <p:nvPr/>
        </p:nvSpPr>
        <p:spPr>
          <a:xfrm>
            <a:off x="-1" y="6472757"/>
            <a:ext cx="12191999" cy="400110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>
            <a:sp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8415" y="256661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Empirical 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B7DCD6-1E4B-AE8F-3BC6-0527F587AAB6}"/>
              </a:ext>
            </a:extLst>
          </p:cNvPr>
          <p:cNvSpPr txBox="1"/>
          <p:nvPr/>
        </p:nvSpPr>
        <p:spPr>
          <a:xfrm>
            <a:off x="0" y="1339049"/>
            <a:ext cx="12191999" cy="400110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>
            <a:sp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A4C735-82C4-2B40-8461-BADF7EC6B261}"/>
              </a:ext>
            </a:extLst>
          </p:cNvPr>
          <p:cNvSpPr txBox="1"/>
          <p:nvPr/>
        </p:nvSpPr>
        <p:spPr>
          <a:xfrm>
            <a:off x="1367506" y="2715143"/>
            <a:ext cx="2183639" cy="923330"/>
          </a:xfrm>
          <a:prstGeom prst="rect">
            <a:avLst/>
          </a:prstGeom>
          <a:solidFill>
            <a:srgbClr val="404040"/>
          </a:solidFill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ptions trading and firm profitabil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7C904E-6410-74FD-D665-081C1A200F35}"/>
              </a:ext>
            </a:extLst>
          </p:cNvPr>
          <p:cNvSpPr txBox="1"/>
          <p:nvPr/>
        </p:nvSpPr>
        <p:spPr>
          <a:xfrm>
            <a:off x="3727125" y="5657671"/>
            <a:ext cx="2208530" cy="1200329"/>
          </a:xfrm>
          <a:prstGeom prst="rect">
            <a:avLst/>
          </a:prstGeom>
          <a:solidFill>
            <a:srgbClr val="404040"/>
          </a:solidFill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ptions trading and investment sensitivity to stock pri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A326731-EA88-6B2F-6358-15BCF6AD2649}"/>
              </a:ext>
            </a:extLst>
          </p:cNvPr>
          <p:cNvSpPr txBox="1"/>
          <p:nvPr/>
        </p:nvSpPr>
        <p:spPr>
          <a:xfrm>
            <a:off x="6049953" y="1339049"/>
            <a:ext cx="2425994" cy="923330"/>
          </a:xfrm>
          <a:prstGeom prst="rect">
            <a:avLst/>
          </a:prstGeom>
          <a:solidFill>
            <a:srgbClr val="404040"/>
          </a:solidFill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A direct measure </a:t>
            </a:r>
          </a:p>
          <a:p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f information asymmet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88FB53D-4EF6-EEBA-C7EB-768052C5A101}"/>
              </a:ext>
            </a:extLst>
          </p:cNvPr>
          <p:cNvSpPr txBox="1"/>
          <p:nvPr/>
        </p:nvSpPr>
        <p:spPr>
          <a:xfrm>
            <a:off x="8761100" y="5928738"/>
            <a:ext cx="2280382" cy="923330"/>
          </a:xfrm>
          <a:prstGeom prst="rect">
            <a:avLst/>
          </a:prstGeom>
          <a:solidFill>
            <a:srgbClr val="404040"/>
          </a:solidFill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Security analysts and options tra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0965F1-8CE1-AAC0-3DFA-1A3970C8225D}"/>
              </a:ext>
            </a:extLst>
          </p:cNvPr>
          <p:cNvSpPr/>
          <p:nvPr/>
        </p:nvSpPr>
        <p:spPr>
          <a:xfrm>
            <a:off x="1367507" y="3682525"/>
            <a:ext cx="2183640" cy="31819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entury Gothic" panose="020B0502020202020204" pitchFamily="34" charset="0"/>
              </a:rPr>
              <a:t>Firms with greater levels of past options volume tend to be more profitable in the future. 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  <a:p>
            <a:r>
              <a:rPr lang="en-US" sz="1400" dirty="0">
                <a:latin typeface="Century Gothic" panose="020B0502020202020204" pitchFamily="34" charset="0"/>
              </a:rPr>
              <a:t>Options trading can lead to better corporate resource allocation by increasing price efficiency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5E7845-CAF4-68F9-2A73-3CED72EFD218}"/>
              </a:ext>
            </a:extLst>
          </p:cNvPr>
          <p:cNvSpPr/>
          <p:nvPr/>
        </p:nvSpPr>
        <p:spPr>
          <a:xfrm>
            <a:off x="3727125" y="1339048"/>
            <a:ext cx="2208530" cy="41809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entury Gothic" panose="020B0502020202020204" pitchFamily="34" charset="0"/>
              </a:rPr>
              <a:t>The interaction of q with options volume is strongly significant, indicating a greater sensitivity of investment to stock price when options trading activity is high.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  <a:p>
            <a:r>
              <a:rPr lang="en-US" sz="1400" dirty="0">
                <a:latin typeface="Century Gothic" panose="020B0502020202020204" pitchFamily="34" charset="0"/>
              </a:rPr>
              <a:t>Options trading contributes to information production, which managers use in making corporate investment decisions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D25BA0-77FE-986D-DC97-422A6EF9817C}"/>
              </a:ext>
            </a:extLst>
          </p:cNvPr>
          <p:cNvSpPr/>
          <p:nvPr/>
        </p:nvSpPr>
        <p:spPr>
          <a:xfrm>
            <a:off x="6049953" y="2413439"/>
            <a:ext cx="2396146" cy="44510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entury Gothic" panose="020B0502020202020204" pitchFamily="34" charset="0"/>
              </a:rPr>
              <a:t>Options volume variable remains significant in every year, and the interaction of the options volume with PIN (probability of informed trading, proxy for information asymmetry) is always positive.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  <a:p>
            <a:r>
              <a:rPr lang="en-US" sz="1400" dirty="0">
                <a:latin typeface="Century Gothic" panose="020B0502020202020204" pitchFamily="34" charset="0"/>
              </a:rPr>
              <a:t>The effect of options volume on q is stronger in stocks where more information is produced by the trading proces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425031E-A0A2-CC7F-3AD3-CE49D727C384}"/>
              </a:ext>
            </a:extLst>
          </p:cNvPr>
          <p:cNvSpPr/>
          <p:nvPr/>
        </p:nvSpPr>
        <p:spPr>
          <a:xfrm>
            <a:off x="8761100" y="1339048"/>
            <a:ext cx="2280382" cy="44510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Century Gothic" panose="020B0502020202020204" pitchFamily="34" charset="0"/>
              </a:rPr>
              <a:t>It is also possible that options volume proxies for another measure of information production, the extent of analyst following.</a:t>
            </a:r>
          </a:p>
          <a:p>
            <a:endParaRPr lang="en-US" sz="1400" dirty="0">
              <a:latin typeface="Century Gothic" panose="020B0502020202020204" pitchFamily="34" charset="0"/>
            </a:endParaRPr>
          </a:p>
          <a:p>
            <a:r>
              <a:rPr lang="en-US" sz="1400" dirty="0">
                <a:latin typeface="Century Gothic" panose="020B0502020202020204" pitchFamily="34" charset="0"/>
              </a:rPr>
              <a:t>Options activity increases firm values by way of its impact on information production, and that security analysts substitute for private information trading by generating public information signal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4F73C0-DC05-475C-2188-02E17A564653}"/>
              </a:ext>
            </a:extLst>
          </p:cNvPr>
          <p:cNvSpPr/>
          <p:nvPr/>
        </p:nvSpPr>
        <p:spPr>
          <a:xfrm>
            <a:off x="0" y="1339048"/>
            <a:ext cx="3551145" cy="12660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(III) 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ptions trading &amp; information production</a:t>
            </a:r>
            <a:endParaRPr lang="en-US" sz="1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443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>
                <a:latin typeface="Century Gothic" panose="020B0502020202020204" pitchFamily="34" charset="0"/>
              </a:rPr>
              <a:pPr/>
              <a:t>12</a:t>
            </a:fld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33418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Conclu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C8DE0F-8E38-2860-014D-1F69397CE291}"/>
              </a:ext>
            </a:extLst>
          </p:cNvPr>
          <p:cNvSpPr/>
          <p:nvPr/>
        </p:nvSpPr>
        <p:spPr>
          <a:xfrm>
            <a:off x="1994462" y="2921323"/>
            <a:ext cx="200455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Value increases with options trading volume,</a:t>
            </a:r>
          </a:p>
          <a:p>
            <a:pPr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&amp;</a:t>
            </a:r>
          </a:p>
          <a:p>
            <a:pPr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it is partly linked to increased information production in actively traded marke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48525D-3D08-64B9-B3B4-51D8CDF54E67}"/>
              </a:ext>
            </a:extLst>
          </p:cNvPr>
          <p:cNvSpPr/>
          <p:nvPr/>
        </p:nvSpPr>
        <p:spPr>
          <a:xfrm>
            <a:off x="1994462" y="2790578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5733EA-4B99-644A-7ADF-4BAFFF8B8925}"/>
              </a:ext>
            </a:extLst>
          </p:cNvPr>
          <p:cNvSpPr/>
          <p:nvPr/>
        </p:nvSpPr>
        <p:spPr>
          <a:xfrm>
            <a:off x="1897976" y="1818191"/>
            <a:ext cx="2209382" cy="87942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Options trading contributes to firm valu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46DA52-FC0F-2C46-3C7E-EA16B7276F0B}"/>
              </a:ext>
            </a:extLst>
          </p:cNvPr>
          <p:cNvSpPr/>
          <p:nvPr/>
        </p:nvSpPr>
        <p:spPr>
          <a:xfrm>
            <a:off x="4832759" y="2921323"/>
            <a:ext cx="230811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esults are consistent after controlling for other variables that contribute to firm value:</a:t>
            </a:r>
          </a:p>
          <a:p>
            <a:pPr algn="ctr">
              <a:buClr>
                <a:srgbClr val="E24848"/>
              </a:buClr>
              <a:defRPr/>
            </a:pPr>
            <a:endParaRPr lang="en-US" sz="16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ize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hare turnover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OA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apex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LTD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Dividend dumm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B2118FC-667A-10D5-CFBE-FFD6204D3824}"/>
              </a:ext>
            </a:extLst>
          </p:cNvPr>
          <p:cNvSpPr/>
          <p:nvPr/>
        </p:nvSpPr>
        <p:spPr>
          <a:xfrm>
            <a:off x="4832759" y="2790578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9A2E450-9F11-5B30-40FE-BD9B11F7EFBF}"/>
              </a:ext>
            </a:extLst>
          </p:cNvPr>
          <p:cNvSpPr/>
          <p:nvPr/>
        </p:nvSpPr>
        <p:spPr>
          <a:xfrm>
            <a:off x="7631243" y="2921323"/>
            <a:ext cx="230811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esults are consistent for various robustness check:</a:t>
            </a:r>
          </a:p>
          <a:p>
            <a:pPr algn="ctr">
              <a:buClr>
                <a:srgbClr val="E24848"/>
              </a:buClr>
              <a:defRPr/>
            </a:pPr>
            <a:endParaRPr lang="en-US" sz="16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Log options volume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Panel regression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Endogeneity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Year-to-year regression and industry control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E702161-53B5-8D00-F95C-7679434C789D}"/>
              </a:ext>
            </a:extLst>
          </p:cNvPr>
          <p:cNvSpPr/>
          <p:nvPr/>
        </p:nvSpPr>
        <p:spPr>
          <a:xfrm>
            <a:off x="7785499" y="2806516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74A7354-D81A-276E-9687-3CEB3D9D09B3}"/>
              </a:ext>
            </a:extLst>
          </p:cNvPr>
          <p:cNvSpPr/>
          <p:nvPr/>
        </p:nvSpPr>
        <p:spPr>
          <a:xfrm>
            <a:off x="4730346" y="1782865"/>
            <a:ext cx="2209382" cy="87942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sistent- inclusion of a host of contro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24DFEC-5130-EAD0-4033-A84422DC2FFA}"/>
              </a:ext>
            </a:extLst>
          </p:cNvPr>
          <p:cNvSpPr/>
          <p:nvPr/>
        </p:nvSpPr>
        <p:spPr>
          <a:xfrm>
            <a:off x="7657859" y="1746336"/>
            <a:ext cx="2209382" cy="87942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sistent- </a:t>
            </a:r>
          </a:p>
          <a:p>
            <a:pPr algn="ctr"/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for robustness checks</a:t>
            </a:r>
          </a:p>
        </p:txBody>
      </p:sp>
    </p:spTree>
    <p:extLst>
      <p:ext uri="{BB962C8B-B14F-4D97-AF65-F5344CB8AC3E}">
        <p14:creationId xmlns:p14="http://schemas.microsoft.com/office/powerpoint/2010/main" val="3807594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33418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rgbClr val="333F5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Contribution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44859F-D93E-B934-99D8-2E23E11FD43E}"/>
              </a:ext>
            </a:extLst>
          </p:cNvPr>
          <p:cNvSpPr/>
          <p:nvPr/>
        </p:nvSpPr>
        <p:spPr>
          <a:xfrm>
            <a:off x="6283606" y="1674631"/>
            <a:ext cx="4476901" cy="83999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…to the scope for further research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05488FE-203F-F095-E2CD-F846CC9DCCE2}"/>
              </a:ext>
            </a:extLst>
          </p:cNvPr>
          <p:cNvSpPr/>
          <p:nvPr/>
        </p:nvSpPr>
        <p:spPr>
          <a:xfrm>
            <a:off x="738959" y="1628333"/>
            <a:ext cx="5057339" cy="269199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en-US" sz="2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…to existing literature:</a:t>
            </a:r>
          </a:p>
          <a:p>
            <a:endParaRPr lang="en-US" sz="20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Benefits of options listing.</a:t>
            </a:r>
          </a:p>
          <a:p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 </a:t>
            </a:r>
          </a:p>
          <a:p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If prices convey more information, corporate resources are allocated more efficiently, and this leads to greater firm valuation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775E72-D404-8C56-2FB3-31625948A18D}"/>
              </a:ext>
            </a:extLst>
          </p:cNvPr>
          <p:cNvSpPr txBox="1"/>
          <p:nvPr/>
        </p:nvSpPr>
        <p:spPr>
          <a:xfrm>
            <a:off x="6225733" y="2455553"/>
            <a:ext cx="530251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ince options trading activity has valuation effect, it would be interesting to check if this scenario is present for other derivatives products such as futures contracts. </a:t>
            </a:r>
          </a:p>
        </p:txBody>
      </p:sp>
    </p:spTree>
    <p:extLst>
      <p:ext uri="{BB962C8B-B14F-4D97-AF65-F5344CB8AC3E}">
        <p14:creationId xmlns:p14="http://schemas.microsoft.com/office/powerpoint/2010/main" val="3628728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 userDrawn="1"/>
        </p:nvSpPr>
        <p:spPr>
          <a:xfrm flipV="1">
            <a:off x="1137645" y="2133047"/>
            <a:ext cx="1263632" cy="1186971"/>
          </a:xfrm>
          <a:custGeom>
            <a:avLst/>
            <a:gdLst>
              <a:gd name="connsiteX0" fmla="*/ 359623 w 827067"/>
              <a:gd name="connsiteY0" fmla="*/ 0 h 377967"/>
              <a:gd name="connsiteX1" fmla="*/ 827067 w 827067"/>
              <a:gd name="connsiteY1" fmla="*/ 0 h 377967"/>
              <a:gd name="connsiteX2" fmla="*/ 827067 w 827067"/>
              <a:gd name="connsiteY2" fmla="*/ 377967 h 377967"/>
              <a:gd name="connsiteX3" fmla="*/ 0 w 827067"/>
              <a:gd name="connsiteY3" fmla="*/ 377967 h 377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7067" h="377967">
                <a:moveTo>
                  <a:pt x="359623" y="0"/>
                </a:moveTo>
                <a:lnTo>
                  <a:pt x="827067" y="0"/>
                </a:lnTo>
                <a:lnTo>
                  <a:pt x="827067" y="377967"/>
                </a:lnTo>
                <a:lnTo>
                  <a:pt x="0" y="377967"/>
                </a:lnTo>
                <a:close/>
              </a:path>
            </a:pathLst>
          </a:cu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>
                <a:lumMod val="7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2503829" y="1918480"/>
            <a:ext cx="3652326" cy="83137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1000"/>
              </a:spcBef>
              <a:defRPr sz="9600" b="1" spc="-200">
                <a:solidFill>
                  <a:schemeClr val="bg1"/>
                </a:solidFill>
                <a:latin typeface="Bebas Neue" panose="020B0606020202050201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id-ID" sz="48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THANK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503829" y="2471921"/>
            <a:ext cx="3971728" cy="1109150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id-ID" sz="4800" b="1" spc="-2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OR YOUR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503829" y="3150386"/>
            <a:ext cx="5450000" cy="1117229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id-ID" sz="4800" b="1" spc="-2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TTENTION</a:t>
            </a:r>
          </a:p>
        </p:txBody>
      </p:sp>
    </p:spTree>
    <p:extLst>
      <p:ext uri="{BB962C8B-B14F-4D97-AF65-F5344CB8AC3E}">
        <p14:creationId xmlns:p14="http://schemas.microsoft.com/office/powerpoint/2010/main" val="4216122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B86024-3E45-11BF-1838-8A45CFC9FB95}"/>
              </a:ext>
            </a:extLst>
          </p:cNvPr>
          <p:cNvSpPr txBox="1"/>
          <p:nvPr/>
        </p:nvSpPr>
        <p:spPr>
          <a:xfrm>
            <a:off x="2135687" y="2086829"/>
            <a:ext cx="76123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  <a:ea typeface="Calibri" panose="020F0502020204030204" pitchFamily="34" charset="0"/>
              </a:rPr>
              <a:t>H</a:t>
            </a:r>
            <a:r>
              <a:rPr lang="en-US" sz="24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w contingent claims affect markets for the underlying asset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288235-23FF-CA04-A95C-5FB94D215D88}"/>
              </a:ext>
            </a:extLst>
          </p:cNvPr>
          <p:cNvSpPr txBox="1"/>
          <p:nvPr/>
        </p:nvSpPr>
        <p:spPr>
          <a:xfrm>
            <a:off x="2310309" y="3095459"/>
            <a:ext cx="7306215" cy="1754326"/>
          </a:xfrm>
          <a:prstGeom prst="rect">
            <a:avLst/>
          </a:prstGeom>
          <a:solidFill>
            <a:srgbClr val="000000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Completing markets: </a:t>
            </a:r>
            <a:r>
              <a:rPr lang="en-US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simple options are powerful abettors of efficiency in competitive equilibrium.</a:t>
            </a:r>
          </a:p>
          <a:p>
            <a:endParaRPr lang="en-US" dirty="0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sz="1800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Improving informational efficiency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: </a:t>
            </a:r>
            <a:r>
              <a:rPr lang="en-US" sz="180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Alter the inc</a:t>
            </a:r>
            <a:r>
              <a:rPr lang="en-US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entives to trade on private information about the underlying</a:t>
            </a: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6901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3D7B482-6FB0-6FA7-93FF-E5A195EA2C6F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/>
          <a:p>
            <a:fld id="{52E43EAC-4EE4-493E-B844-9691317359C0}" type="slidenum">
              <a:rPr lang="en-US" sz="900" smtClean="0">
                <a:latin typeface="Century Gothic" panose="020B0502020202020204" pitchFamily="34" charset="0"/>
              </a:rPr>
              <a:t>3</a:t>
            </a:fld>
            <a:endParaRPr lang="en-US" sz="900" dirty="0">
              <a:latin typeface="Century Gothic" panose="020B0502020202020204" pitchFamily="34" charset="0"/>
            </a:endParaRPr>
          </a:p>
        </p:txBody>
      </p:sp>
      <p:pic>
        <p:nvPicPr>
          <p:cNvPr id="21" name="Picture 4" descr="Options Trading: What Is A Margin Call? And How Do You Avoid Getting One?">
            <a:extLst>
              <a:ext uri="{FF2B5EF4-FFF2-40B4-BE49-F238E27FC236}">
                <a16:creationId xmlns:a16="http://schemas.microsoft.com/office/drawing/2014/main" id="{78878F9E-2EB3-197C-FF5F-478765CF5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B4F6C23-BCBE-4531-8FD8-996EC9584578}"/>
              </a:ext>
            </a:extLst>
          </p:cNvPr>
          <p:cNvSpPr/>
          <p:nvPr/>
        </p:nvSpPr>
        <p:spPr>
          <a:xfrm>
            <a:off x="-301977" y="-159488"/>
            <a:ext cx="12493977" cy="7017488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10029" y="162563"/>
            <a:ext cx="5297714" cy="6532874"/>
          </a:xfrm>
          <a:prstGeom prst="rect">
            <a:avLst/>
          </a:prstGeom>
          <a:pattFill prst="pct5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Century Gothic" panose="020B0502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885800" y="711658"/>
            <a:ext cx="3154287" cy="65166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48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TENT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929342" y="1672180"/>
            <a:ext cx="16065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Introduction 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929342" y="1987860"/>
            <a:ext cx="28494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Motivations of the paper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916372" y="2420420"/>
            <a:ext cx="1702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Methodology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916372" y="2785227"/>
            <a:ext cx="3236431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Variables, and Econometrics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916372" y="3163279"/>
            <a:ext cx="7200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Data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916372" y="3474110"/>
            <a:ext cx="28494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ample data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909887" y="3939922"/>
            <a:ext cx="2234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Empirical analysis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909887" y="4268278"/>
            <a:ext cx="3242916" cy="43088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Base regression results, robustness check, &amp; further analysi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43732" y="1751448"/>
            <a:ext cx="585945" cy="446111"/>
            <a:chOff x="1749703" y="2330672"/>
            <a:chExt cx="585945" cy="44611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63" name="Right Triangle 62"/>
            <p:cNvSpPr/>
            <p:nvPr/>
          </p:nvSpPr>
          <p:spPr>
            <a:xfrm flipV="1">
              <a:off x="1976024" y="2330672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1749703" y="2330672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1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130762" y="2499688"/>
            <a:ext cx="585945" cy="446111"/>
            <a:chOff x="1749703" y="3176187"/>
            <a:chExt cx="585945" cy="446111"/>
          </a:xfrm>
          <a:solidFill>
            <a:srgbClr val="27AAE1"/>
          </a:solidFill>
        </p:grpSpPr>
        <p:sp>
          <p:nvSpPr>
            <p:cNvPr id="62" name="Right Triangle 61"/>
            <p:cNvSpPr/>
            <p:nvPr/>
          </p:nvSpPr>
          <p:spPr>
            <a:xfrm flipV="1">
              <a:off x="1976024" y="3176187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749703" y="3176187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2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130762" y="3268487"/>
            <a:ext cx="585945" cy="446111"/>
            <a:chOff x="1749703" y="4016321"/>
            <a:chExt cx="585945" cy="446111"/>
          </a:xfrm>
          <a:solidFill>
            <a:srgbClr val="1C75BC"/>
          </a:solidFill>
        </p:grpSpPr>
        <p:sp>
          <p:nvSpPr>
            <p:cNvPr id="61" name="Right Triangle 60"/>
            <p:cNvSpPr/>
            <p:nvPr/>
          </p:nvSpPr>
          <p:spPr>
            <a:xfrm flipV="1">
              <a:off x="1976024" y="4016321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749703" y="4016321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3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124277" y="4045013"/>
            <a:ext cx="585945" cy="446228"/>
            <a:chOff x="1749703" y="4844727"/>
            <a:chExt cx="585945" cy="446228"/>
          </a:xfrm>
          <a:solidFill>
            <a:srgbClr val="2B3990"/>
          </a:solidFill>
        </p:grpSpPr>
        <p:sp>
          <p:nvSpPr>
            <p:cNvPr id="60" name="Right Triangle 59"/>
            <p:cNvSpPr/>
            <p:nvPr/>
          </p:nvSpPr>
          <p:spPr>
            <a:xfrm flipV="1">
              <a:off x="1976024" y="4844727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749703" y="4844844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4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214181" y="758410"/>
            <a:ext cx="393551" cy="492358"/>
            <a:chOff x="7268245" y="5108787"/>
            <a:chExt cx="357774" cy="447598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8" name="Freeform 11482"/>
            <p:cNvSpPr>
              <a:spLocks noEditPoints="1"/>
            </p:cNvSpPr>
            <p:nvPr/>
          </p:nvSpPr>
          <p:spPr bwMode="auto">
            <a:xfrm>
              <a:off x="7476820" y="5407186"/>
              <a:ext cx="149199" cy="149199"/>
            </a:xfrm>
            <a:custGeom>
              <a:avLst/>
              <a:gdLst>
                <a:gd name="T0" fmla="*/ 384 w 391"/>
                <a:gd name="T1" fmla="*/ 145 h 392"/>
                <a:gd name="T2" fmla="*/ 364 w 391"/>
                <a:gd name="T3" fmla="*/ 98 h 392"/>
                <a:gd name="T4" fmla="*/ 334 w 391"/>
                <a:gd name="T5" fmla="*/ 57 h 392"/>
                <a:gd name="T6" fmla="*/ 295 w 391"/>
                <a:gd name="T7" fmla="*/ 27 h 392"/>
                <a:gd name="T8" fmla="*/ 248 w 391"/>
                <a:gd name="T9" fmla="*/ 8 h 392"/>
                <a:gd name="T10" fmla="*/ 196 w 391"/>
                <a:gd name="T11" fmla="*/ 0 h 392"/>
                <a:gd name="T12" fmla="*/ 155 w 391"/>
                <a:gd name="T13" fmla="*/ 4 h 392"/>
                <a:gd name="T14" fmla="*/ 102 w 391"/>
                <a:gd name="T15" fmla="*/ 23 h 392"/>
                <a:gd name="T16" fmla="*/ 57 w 391"/>
                <a:gd name="T17" fmla="*/ 57 h 392"/>
                <a:gd name="T18" fmla="*/ 23 w 391"/>
                <a:gd name="T19" fmla="*/ 103 h 392"/>
                <a:gd name="T20" fmla="*/ 4 w 391"/>
                <a:gd name="T21" fmla="*/ 157 h 392"/>
                <a:gd name="T22" fmla="*/ 0 w 391"/>
                <a:gd name="T23" fmla="*/ 196 h 392"/>
                <a:gd name="T24" fmla="*/ 5 w 391"/>
                <a:gd name="T25" fmla="*/ 245 h 392"/>
                <a:gd name="T26" fmla="*/ 17 w 391"/>
                <a:gd name="T27" fmla="*/ 275 h 392"/>
                <a:gd name="T28" fmla="*/ 40 w 391"/>
                <a:gd name="T29" fmla="*/ 316 h 392"/>
                <a:gd name="T30" fmla="*/ 74 w 391"/>
                <a:gd name="T31" fmla="*/ 350 h 392"/>
                <a:gd name="T32" fmla="*/ 115 w 391"/>
                <a:gd name="T33" fmla="*/ 375 h 392"/>
                <a:gd name="T34" fmla="*/ 162 w 391"/>
                <a:gd name="T35" fmla="*/ 389 h 392"/>
                <a:gd name="T36" fmla="*/ 196 w 391"/>
                <a:gd name="T37" fmla="*/ 392 h 392"/>
                <a:gd name="T38" fmla="*/ 253 w 391"/>
                <a:gd name="T39" fmla="*/ 383 h 392"/>
                <a:gd name="T40" fmla="*/ 305 w 391"/>
                <a:gd name="T41" fmla="*/ 359 h 392"/>
                <a:gd name="T42" fmla="*/ 346 w 391"/>
                <a:gd name="T43" fmla="*/ 321 h 392"/>
                <a:gd name="T44" fmla="*/ 376 w 391"/>
                <a:gd name="T45" fmla="*/ 273 h 392"/>
                <a:gd name="T46" fmla="*/ 390 w 391"/>
                <a:gd name="T47" fmla="*/ 215 h 392"/>
                <a:gd name="T48" fmla="*/ 390 w 391"/>
                <a:gd name="T49" fmla="*/ 179 h 392"/>
                <a:gd name="T50" fmla="*/ 299 w 391"/>
                <a:gd name="T51" fmla="*/ 214 h 392"/>
                <a:gd name="T52" fmla="*/ 295 w 391"/>
                <a:gd name="T53" fmla="*/ 222 h 392"/>
                <a:gd name="T54" fmla="*/ 216 w 391"/>
                <a:gd name="T55" fmla="*/ 226 h 392"/>
                <a:gd name="T56" fmla="*/ 216 w 391"/>
                <a:gd name="T57" fmla="*/ 300 h 392"/>
                <a:gd name="T58" fmla="*/ 205 w 391"/>
                <a:gd name="T59" fmla="*/ 308 h 392"/>
                <a:gd name="T60" fmla="*/ 179 w 391"/>
                <a:gd name="T61" fmla="*/ 307 h 392"/>
                <a:gd name="T62" fmla="*/ 171 w 391"/>
                <a:gd name="T63" fmla="*/ 295 h 392"/>
                <a:gd name="T64" fmla="*/ 103 w 391"/>
                <a:gd name="T65" fmla="*/ 226 h 392"/>
                <a:gd name="T66" fmla="*/ 91 w 391"/>
                <a:gd name="T67" fmla="*/ 218 h 392"/>
                <a:gd name="T68" fmla="*/ 90 w 391"/>
                <a:gd name="T69" fmla="*/ 193 h 392"/>
                <a:gd name="T70" fmla="*/ 98 w 391"/>
                <a:gd name="T71" fmla="*/ 181 h 392"/>
                <a:gd name="T72" fmla="*/ 171 w 391"/>
                <a:gd name="T73" fmla="*/ 111 h 392"/>
                <a:gd name="T74" fmla="*/ 175 w 391"/>
                <a:gd name="T75" fmla="*/ 103 h 392"/>
                <a:gd name="T76" fmla="*/ 205 w 391"/>
                <a:gd name="T77" fmla="*/ 99 h 392"/>
                <a:gd name="T78" fmla="*/ 214 w 391"/>
                <a:gd name="T79" fmla="*/ 103 h 392"/>
                <a:gd name="T80" fmla="*/ 216 w 391"/>
                <a:gd name="T81" fmla="*/ 180 h 392"/>
                <a:gd name="T82" fmla="*/ 291 w 391"/>
                <a:gd name="T83" fmla="*/ 181 h 392"/>
                <a:gd name="T84" fmla="*/ 299 w 391"/>
                <a:gd name="T85" fmla="*/ 193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1" h="392">
                  <a:moveTo>
                    <a:pt x="388" y="162"/>
                  </a:moveTo>
                  <a:lnTo>
                    <a:pt x="388" y="162"/>
                  </a:lnTo>
                  <a:lnTo>
                    <a:pt x="384" y="145"/>
                  </a:lnTo>
                  <a:lnTo>
                    <a:pt x="378" y="128"/>
                  </a:lnTo>
                  <a:lnTo>
                    <a:pt x="372" y="112"/>
                  </a:lnTo>
                  <a:lnTo>
                    <a:pt x="364" y="98"/>
                  </a:lnTo>
                  <a:lnTo>
                    <a:pt x="355" y="83"/>
                  </a:lnTo>
                  <a:lnTo>
                    <a:pt x="346" y="70"/>
                  </a:lnTo>
                  <a:lnTo>
                    <a:pt x="334" y="57"/>
                  </a:lnTo>
                  <a:lnTo>
                    <a:pt x="321" y="47"/>
                  </a:lnTo>
                  <a:lnTo>
                    <a:pt x="308" y="36"/>
                  </a:lnTo>
                  <a:lnTo>
                    <a:pt x="295" y="27"/>
                  </a:lnTo>
                  <a:lnTo>
                    <a:pt x="279" y="20"/>
                  </a:lnTo>
                  <a:lnTo>
                    <a:pt x="264" y="13"/>
                  </a:lnTo>
                  <a:lnTo>
                    <a:pt x="248" y="8"/>
                  </a:lnTo>
                  <a:lnTo>
                    <a:pt x="231" y="4"/>
                  </a:lnTo>
                  <a:lnTo>
                    <a:pt x="213" y="1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75" y="1"/>
                  </a:lnTo>
                  <a:lnTo>
                    <a:pt x="155" y="4"/>
                  </a:lnTo>
                  <a:lnTo>
                    <a:pt x="137" y="9"/>
                  </a:lnTo>
                  <a:lnTo>
                    <a:pt x="119" y="16"/>
                  </a:lnTo>
                  <a:lnTo>
                    <a:pt x="102" y="23"/>
                  </a:lnTo>
                  <a:lnTo>
                    <a:pt x="86" y="34"/>
                  </a:lnTo>
                  <a:lnTo>
                    <a:pt x="70" y="44"/>
                  </a:lnTo>
                  <a:lnTo>
                    <a:pt x="57" y="57"/>
                  </a:lnTo>
                  <a:lnTo>
                    <a:pt x="44" y="72"/>
                  </a:lnTo>
                  <a:lnTo>
                    <a:pt x="32" y="86"/>
                  </a:lnTo>
                  <a:lnTo>
                    <a:pt x="23" y="103"/>
                  </a:lnTo>
                  <a:lnTo>
                    <a:pt x="15" y="120"/>
                  </a:lnTo>
                  <a:lnTo>
                    <a:pt x="8" y="138"/>
                  </a:lnTo>
                  <a:lnTo>
                    <a:pt x="4" y="157"/>
                  </a:lnTo>
                  <a:lnTo>
                    <a:pt x="0" y="17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209"/>
                  </a:lnTo>
                  <a:lnTo>
                    <a:pt x="1" y="221"/>
                  </a:lnTo>
                  <a:lnTo>
                    <a:pt x="5" y="245"/>
                  </a:lnTo>
                  <a:lnTo>
                    <a:pt x="5" y="245"/>
                  </a:lnTo>
                  <a:lnTo>
                    <a:pt x="10" y="261"/>
                  </a:lnTo>
                  <a:lnTo>
                    <a:pt x="17" y="275"/>
                  </a:lnTo>
                  <a:lnTo>
                    <a:pt x="23" y="290"/>
                  </a:lnTo>
                  <a:lnTo>
                    <a:pt x="31" y="304"/>
                  </a:lnTo>
                  <a:lnTo>
                    <a:pt x="40" y="316"/>
                  </a:lnTo>
                  <a:lnTo>
                    <a:pt x="51" y="329"/>
                  </a:lnTo>
                  <a:lnTo>
                    <a:pt x="62" y="339"/>
                  </a:lnTo>
                  <a:lnTo>
                    <a:pt x="74" y="350"/>
                  </a:lnTo>
                  <a:lnTo>
                    <a:pt x="87" y="359"/>
                  </a:lnTo>
                  <a:lnTo>
                    <a:pt x="100" y="368"/>
                  </a:lnTo>
                  <a:lnTo>
                    <a:pt x="115" y="375"/>
                  </a:lnTo>
                  <a:lnTo>
                    <a:pt x="130" y="381"/>
                  </a:lnTo>
                  <a:lnTo>
                    <a:pt x="146" y="385"/>
                  </a:lnTo>
                  <a:lnTo>
                    <a:pt x="162" y="389"/>
                  </a:lnTo>
                  <a:lnTo>
                    <a:pt x="179" y="392"/>
                  </a:lnTo>
                  <a:lnTo>
                    <a:pt x="196" y="392"/>
                  </a:lnTo>
                  <a:lnTo>
                    <a:pt x="196" y="392"/>
                  </a:lnTo>
                  <a:lnTo>
                    <a:pt x="215" y="390"/>
                  </a:lnTo>
                  <a:lnTo>
                    <a:pt x="235" y="388"/>
                  </a:lnTo>
                  <a:lnTo>
                    <a:pt x="253" y="383"/>
                  </a:lnTo>
                  <a:lnTo>
                    <a:pt x="271" y="376"/>
                  </a:lnTo>
                  <a:lnTo>
                    <a:pt x="288" y="368"/>
                  </a:lnTo>
                  <a:lnTo>
                    <a:pt x="305" y="359"/>
                  </a:lnTo>
                  <a:lnTo>
                    <a:pt x="320" y="347"/>
                  </a:lnTo>
                  <a:lnTo>
                    <a:pt x="334" y="334"/>
                  </a:lnTo>
                  <a:lnTo>
                    <a:pt x="346" y="321"/>
                  </a:lnTo>
                  <a:lnTo>
                    <a:pt x="358" y="306"/>
                  </a:lnTo>
                  <a:lnTo>
                    <a:pt x="368" y="290"/>
                  </a:lnTo>
                  <a:lnTo>
                    <a:pt x="376" y="273"/>
                  </a:lnTo>
                  <a:lnTo>
                    <a:pt x="382" y="255"/>
                  </a:lnTo>
                  <a:lnTo>
                    <a:pt x="388" y="235"/>
                  </a:lnTo>
                  <a:lnTo>
                    <a:pt x="390" y="215"/>
                  </a:lnTo>
                  <a:lnTo>
                    <a:pt x="391" y="196"/>
                  </a:lnTo>
                  <a:lnTo>
                    <a:pt x="391" y="196"/>
                  </a:lnTo>
                  <a:lnTo>
                    <a:pt x="390" y="179"/>
                  </a:lnTo>
                  <a:lnTo>
                    <a:pt x="388" y="162"/>
                  </a:lnTo>
                  <a:lnTo>
                    <a:pt x="388" y="162"/>
                  </a:lnTo>
                  <a:close/>
                  <a:moveTo>
                    <a:pt x="299" y="214"/>
                  </a:moveTo>
                  <a:lnTo>
                    <a:pt x="299" y="214"/>
                  </a:lnTo>
                  <a:lnTo>
                    <a:pt x="297" y="218"/>
                  </a:lnTo>
                  <a:lnTo>
                    <a:pt x="295" y="222"/>
                  </a:lnTo>
                  <a:lnTo>
                    <a:pt x="291" y="225"/>
                  </a:lnTo>
                  <a:lnTo>
                    <a:pt x="286" y="226"/>
                  </a:lnTo>
                  <a:lnTo>
                    <a:pt x="216" y="226"/>
                  </a:lnTo>
                  <a:lnTo>
                    <a:pt x="216" y="295"/>
                  </a:lnTo>
                  <a:lnTo>
                    <a:pt x="216" y="295"/>
                  </a:lnTo>
                  <a:lnTo>
                    <a:pt x="216" y="300"/>
                  </a:lnTo>
                  <a:lnTo>
                    <a:pt x="214" y="304"/>
                  </a:lnTo>
                  <a:lnTo>
                    <a:pt x="210" y="307"/>
                  </a:lnTo>
                  <a:lnTo>
                    <a:pt x="205" y="308"/>
                  </a:lnTo>
                  <a:lnTo>
                    <a:pt x="184" y="308"/>
                  </a:lnTo>
                  <a:lnTo>
                    <a:pt x="184" y="308"/>
                  </a:lnTo>
                  <a:lnTo>
                    <a:pt x="179" y="307"/>
                  </a:lnTo>
                  <a:lnTo>
                    <a:pt x="175" y="304"/>
                  </a:lnTo>
                  <a:lnTo>
                    <a:pt x="172" y="300"/>
                  </a:lnTo>
                  <a:lnTo>
                    <a:pt x="171" y="295"/>
                  </a:lnTo>
                  <a:lnTo>
                    <a:pt x="171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98" y="225"/>
                  </a:lnTo>
                  <a:lnTo>
                    <a:pt x="94" y="222"/>
                  </a:lnTo>
                  <a:lnTo>
                    <a:pt x="91" y="218"/>
                  </a:lnTo>
                  <a:lnTo>
                    <a:pt x="90" y="214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91" y="188"/>
                  </a:lnTo>
                  <a:lnTo>
                    <a:pt x="94" y="184"/>
                  </a:lnTo>
                  <a:lnTo>
                    <a:pt x="98" y="181"/>
                  </a:lnTo>
                  <a:lnTo>
                    <a:pt x="103" y="180"/>
                  </a:lnTo>
                  <a:lnTo>
                    <a:pt x="171" y="180"/>
                  </a:lnTo>
                  <a:lnTo>
                    <a:pt x="171" y="111"/>
                  </a:lnTo>
                  <a:lnTo>
                    <a:pt x="171" y="111"/>
                  </a:lnTo>
                  <a:lnTo>
                    <a:pt x="172" y="107"/>
                  </a:lnTo>
                  <a:lnTo>
                    <a:pt x="175" y="103"/>
                  </a:lnTo>
                  <a:lnTo>
                    <a:pt x="179" y="100"/>
                  </a:lnTo>
                  <a:lnTo>
                    <a:pt x="184" y="99"/>
                  </a:lnTo>
                  <a:lnTo>
                    <a:pt x="205" y="99"/>
                  </a:lnTo>
                  <a:lnTo>
                    <a:pt x="205" y="99"/>
                  </a:lnTo>
                  <a:lnTo>
                    <a:pt x="210" y="100"/>
                  </a:lnTo>
                  <a:lnTo>
                    <a:pt x="214" y="103"/>
                  </a:lnTo>
                  <a:lnTo>
                    <a:pt x="216" y="107"/>
                  </a:lnTo>
                  <a:lnTo>
                    <a:pt x="216" y="111"/>
                  </a:lnTo>
                  <a:lnTo>
                    <a:pt x="216" y="180"/>
                  </a:lnTo>
                  <a:lnTo>
                    <a:pt x="286" y="180"/>
                  </a:lnTo>
                  <a:lnTo>
                    <a:pt x="286" y="180"/>
                  </a:lnTo>
                  <a:lnTo>
                    <a:pt x="291" y="181"/>
                  </a:lnTo>
                  <a:lnTo>
                    <a:pt x="295" y="184"/>
                  </a:lnTo>
                  <a:lnTo>
                    <a:pt x="297" y="188"/>
                  </a:lnTo>
                  <a:lnTo>
                    <a:pt x="299" y="193"/>
                  </a:lnTo>
                  <a:lnTo>
                    <a:pt x="299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11483"/>
            <p:cNvSpPr>
              <a:spLocks/>
            </p:cNvSpPr>
            <p:nvPr/>
          </p:nvSpPr>
          <p:spPr bwMode="auto">
            <a:xfrm>
              <a:off x="7268245" y="5108787"/>
              <a:ext cx="315145" cy="408014"/>
            </a:xfrm>
            <a:custGeom>
              <a:avLst/>
              <a:gdLst>
                <a:gd name="T0" fmla="*/ 505 w 825"/>
                <a:gd name="T1" fmla="*/ 981 h 1070"/>
                <a:gd name="T2" fmla="*/ 369 w 825"/>
                <a:gd name="T3" fmla="*/ 980 h 1070"/>
                <a:gd name="T4" fmla="*/ 106 w 825"/>
                <a:gd name="T5" fmla="*/ 232 h 1070"/>
                <a:gd name="T6" fmla="*/ 202 w 825"/>
                <a:gd name="T7" fmla="*/ 231 h 1070"/>
                <a:gd name="T8" fmla="*/ 202 w 825"/>
                <a:gd name="T9" fmla="*/ 151 h 1070"/>
                <a:gd name="T10" fmla="*/ 189 w 825"/>
                <a:gd name="T11" fmla="*/ 101 h 1070"/>
                <a:gd name="T12" fmla="*/ 231 w 825"/>
                <a:gd name="T13" fmla="*/ 151 h 1070"/>
                <a:gd name="T14" fmla="*/ 219 w 825"/>
                <a:gd name="T15" fmla="*/ 231 h 1070"/>
                <a:gd name="T16" fmla="*/ 618 w 825"/>
                <a:gd name="T17" fmla="*/ 151 h 1070"/>
                <a:gd name="T18" fmla="*/ 606 w 825"/>
                <a:gd name="T19" fmla="*/ 101 h 1070"/>
                <a:gd name="T20" fmla="*/ 648 w 825"/>
                <a:gd name="T21" fmla="*/ 151 h 1070"/>
                <a:gd name="T22" fmla="*/ 635 w 825"/>
                <a:gd name="T23" fmla="*/ 231 h 1070"/>
                <a:gd name="T24" fmla="*/ 730 w 825"/>
                <a:gd name="T25" fmla="*/ 232 h 1070"/>
                <a:gd name="T26" fmla="*/ 730 w 825"/>
                <a:gd name="T27" fmla="*/ 576 h 1070"/>
                <a:gd name="T28" fmla="*/ 730 w 825"/>
                <a:gd name="T29" fmla="*/ 741 h 1070"/>
                <a:gd name="T30" fmla="*/ 747 w 825"/>
                <a:gd name="T31" fmla="*/ 741 h 1070"/>
                <a:gd name="T32" fmla="*/ 766 w 825"/>
                <a:gd name="T33" fmla="*/ 741 h 1070"/>
                <a:gd name="T34" fmla="*/ 807 w 825"/>
                <a:gd name="T35" fmla="*/ 748 h 1070"/>
                <a:gd name="T36" fmla="*/ 825 w 825"/>
                <a:gd name="T37" fmla="*/ 145 h 1070"/>
                <a:gd name="T38" fmla="*/ 684 w 825"/>
                <a:gd name="T39" fmla="*/ 145 h 1070"/>
                <a:gd name="T40" fmla="*/ 543 w 825"/>
                <a:gd name="T41" fmla="*/ 80 h 1070"/>
                <a:gd name="T42" fmla="*/ 543 w 825"/>
                <a:gd name="T43" fmla="*/ 77 h 1070"/>
                <a:gd name="T44" fmla="*/ 540 w 825"/>
                <a:gd name="T45" fmla="*/ 61 h 1070"/>
                <a:gd name="T46" fmla="*/ 533 w 825"/>
                <a:gd name="T47" fmla="*/ 47 h 1070"/>
                <a:gd name="T48" fmla="*/ 521 w 825"/>
                <a:gd name="T49" fmla="*/ 34 h 1070"/>
                <a:gd name="T50" fmla="*/ 505 w 825"/>
                <a:gd name="T51" fmla="*/ 22 h 1070"/>
                <a:gd name="T52" fmla="*/ 486 w 825"/>
                <a:gd name="T53" fmla="*/ 13 h 1070"/>
                <a:gd name="T54" fmla="*/ 463 w 825"/>
                <a:gd name="T55" fmla="*/ 7 h 1070"/>
                <a:gd name="T56" fmla="*/ 439 w 825"/>
                <a:gd name="T57" fmla="*/ 1 h 1070"/>
                <a:gd name="T58" fmla="*/ 413 w 825"/>
                <a:gd name="T59" fmla="*/ 0 h 1070"/>
                <a:gd name="T60" fmla="*/ 399 w 825"/>
                <a:gd name="T61" fmla="*/ 0 h 1070"/>
                <a:gd name="T62" fmla="*/ 375 w 825"/>
                <a:gd name="T63" fmla="*/ 4 h 1070"/>
                <a:gd name="T64" fmla="*/ 351 w 825"/>
                <a:gd name="T65" fmla="*/ 9 h 1070"/>
                <a:gd name="T66" fmla="*/ 330 w 825"/>
                <a:gd name="T67" fmla="*/ 18 h 1070"/>
                <a:gd name="T68" fmla="*/ 312 w 825"/>
                <a:gd name="T69" fmla="*/ 29 h 1070"/>
                <a:gd name="T70" fmla="*/ 299 w 825"/>
                <a:gd name="T71" fmla="*/ 40 h 1070"/>
                <a:gd name="T72" fmla="*/ 288 w 825"/>
                <a:gd name="T73" fmla="*/ 55 h 1070"/>
                <a:gd name="T74" fmla="*/ 283 w 825"/>
                <a:gd name="T75" fmla="*/ 69 h 1070"/>
                <a:gd name="T76" fmla="*/ 282 w 825"/>
                <a:gd name="T77" fmla="*/ 80 h 1070"/>
                <a:gd name="T78" fmla="*/ 142 w 825"/>
                <a:gd name="T79" fmla="*/ 145 h 1070"/>
                <a:gd name="T80" fmla="*/ 0 w 825"/>
                <a:gd name="T81" fmla="*/ 1070 h 1070"/>
                <a:gd name="T82" fmla="*/ 522 w 825"/>
                <a:gd name="T83" fmla="*/ 1070 h 1070"/>
                <a:gd name="T84" fmla="*/ 513 w 825"/>
                <a:gd name="T85" fmla="*/ 1041 h 1070"/>
                <a:gd name="T86" fmla="*/ 509 w 825"/>
                <a:gd name="T87" fmla="*/ 1027 h 1070"/>
                <a:gd name="T88" fmla="*/ 505 w 825"/>
                <a:gd name="T89" fmla="*/ 996 h 1070"/>
                <a:gd name="T90" fmla="*/ 505 w 825"/>
                <a:gd name="T91" fmla="*/ 981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25" h="1070">
                  <a:moveTo>
                    <a:pt x="505" y="981"/>
                  </a:moveTo>
                  <a:lnTo>
                    <a:pt x="505" y="981"/>
                  </a:lnTo>
                  <a:lnTo>
                    <a:pt x="505" y="980"/>
                  </a:lnTo>
                  <a:lnTo>
                    <a:pt x="369" y="980"/>
                  </a:lnTo>
                  <a:lnTo>
                    <a:pt x="106" y="696"/>
                  </a:lnTo>
                  <a:lnTo>
                    <a:pt x="106" y="232"/>
                  </a:lnTo>
                  <a:lnTo>
                    <a:pt x="202" y="232"/>
                  </a:lnTo>
                  <a:lnTo>
                    <a:pt x="202" y="231"/>
                  </a:lnTo>
                  <a:lnTo>
                    <a:pt x="202" y="231"/>
                  </a:lnTo>
                  <a:lnTo>
                    <a:pt x="202" y="151"/>
                  </a:lnTo>
                  <a:lnTo>
                    <a:pt x="189" y="151"/>
                  </a:lnTo>
                  <a:lnTo>
                    <a:pt x="189" y="101"/>
                  </a:lnTo>
                  <a:lnTo>
                    <a:pt x="231" y="101"/>
                  </a:lnTo>
                  <a:lnTo>
                    <a:pt x="231" y="151"/>
                  </a:lnTo>
                  <a:lnTo>
                    <a:pt x="219" y="151"/>
                  </a:lnTo>
                  <a:lnTo>
                    <a:pt x="219" y="231"/>
                  </a:lnTo>
                  <a:lnTo>
                    <a:pt x="618" y="231"/>
                  </a:lnTo>
                  <a:lnTo>
                    <a:pt x="618" y="151"/>
                  </a:lnTo>
                  <a:lnTo>
                    <a:pt x="606" y="151"/>
                  </a:lnTo>
                  <a:lnTo>
                    <a:pt x="606" y="101"/>
                  </a:lnTo>
                  <a:lnTo>
                    <a:pt x="648" y="101"/>
                  </a:lnTo>
                  <a:lnTo>
                    <a:pt x="648" y="151"/>
                  </a:lnTo>
                  <a:lnTo>
                    <a:pt x="635" y="151"/>
                  </a:lnTo>
                  <a:lnTo>
                    <a:pt x="635" y="231"/>
                  </a:lnTo>
                  <a:lnTo>
                    <a:pt x="635" y="232"/>
                  </a:lnTo>
                  <a:lnTo>
                    <a:pt x="730" y="232"/>
                  </a:lnTo>
                  <a:lnTo>
                    <a:pt x="730" y="521"/>
                  </a:lnTo>
                  <a:lnTo>
                    <a:pt x="730" y="576"/>
                  </a:lnTo>
                  <a:lnTo>
                    <a:pt x="730" y="631"/>
                  </a:lnTo>
                  <a:lnTo>
                    <a:pt x="730" y="741"/>
                  </a:lnTo>
                  <a:lnTo>
                    <a:pt x="730" y="741"/>
                  </a:lnTo>
                  <a:lnTo>
                    <a:pt x="747" y="741"/>
                  </a:lnTo>
                  <a:lnTo>
                    <a:pt x="747" y="741"/>
                  </a:lnTo>
                  <a:lnTo>
                    <a:pt x="766" y="741"/>
                  </a:lnTo>
                  <a:lnTo>
                    <a:pt x="787" y="743"/>
                  </a:lnTo>
                  <a:lnTo>
                    <a:pt x="807" y="748"/>
                  </a:lnTo>
                  <a:lnTo>
                    <a:pt x="825" y="754"/>
                  </a:lnTo>
                  <a:lnTo>
                    <a:pt x="825" y="145"/>
                  </a:lnTo>
                  <a:lnTo>
                    <a:pt x="685" y="145"/>
                  </a:lnTo>
                  <a:lnTo>
                    <a:pt x="684" y="145"/>
                  </a:lnTo>
                  <a:lnTo>
                    <a:pt x="684" y="80"/>
                  </a:lnTo>
                  <a:lnTo>
                    <a:pt x="543" y="80"/>
                  </a:lnTo>
                  <a:lnTo>
                    <a:pt x="543" y="77"/>
                  </a:lnTo>
                  <a:lnTo>
                    <a:pt x="543" y="77"/>
                  </a:lnTo>
                  <a:lnTo>
                    <a:pt x="543" y="69"/>
                  </a:lnTo>
                  <a:lnTo>
                    <a:pt x="540" y="61"/>
                  </a:lnTo>
                  <a:lnTo>
                    <a:pt x="538" y="55"/>
                  </a:lnTo>
                  <a:lnTo>
                    <a:pt x="533" y="47"/>
                  </a:lnTo>
                  <a:lnTo>
                    <a:pt x="527" y="40"/>
                  </a:lnTo>
                  <a:lnTo>
                    <a:pt x="521" y="34"/>
                  </a:lnTo>
                  <a:lnTo>
                    <a:pt x="513" y="29"/>
                  </a:lnTo>
                  <a:lnTo>
                    <a:pt x="505" y="22"/>
                  </a:lnTo>
                  <a:lnTo>
                    <a:pt x="496" y="18"/>
                  </a:lnTo>
                  <a:lnTo>
                    <a:pt x="486" y="13"/>
                  </a:lnTo>
                  <a:lnTo>
                    <a:pt x="475" y="9"/>
                  </a:lnTo>
                  <a:lnTo>
                    <a:pt x="463" y="7"/>
                  </a:lnTo>
                  <a:lnTo>
                    <a:pt x="452" y="4"/>
                  </a:lnTo>
                  <a:lnTo>
                    <a:pt x="439" y="1"/>
                  </a:lnTo>
                  <a:lnTo>
                    <a:pt x="426" y="0"/>
                  </a:lnTo>
                  <a:lnTo>
                    <a:pt x="413" y="0"/>
                  </a:lnTo>
                  <a:lnTo>
                    <a:pt x="413" y="0"/>
                  </a:lnTo>
                  <a:lnTo>
                    <a:pt x="399" y="0"/>
                  </a:lnTo>
                  <a:lnTo>
                    <a:pt x="386" y="1"/>
                  </a:lnTo>
                  <a:lnTo>
                    <a:pt x="375" y="4"/>
                  </a:lnTo>
                  <a:lnTo>
                    <a:pt x="362" y="7"/>
                  </a:lnTo>
                  <a:lnTo>
                    <a:pt x="351" y="9"/>
                  </a:lnTo>
                  <a:lnTo>
                    <a:pt x="339" y="13"/>
                  </a:lnTo>
                  <a:lnTo>
                    <a:pt x="330" y="18"/>
                  </a:lnTo>
                  <a:lnTo>
                    <a:pt x="321" y="22"/>
                  </a:lnTo>
                  <a:lnTo>
                    <a:pt x="312" y="29"/>
                  </a:lnTo>
                  <a:lnTo>
                    <a:pt x="305" y="34"/>
                  </a:lnTo>
                  <a:lnTo>
                    <a:pt x="299" y="40"/>
                  </a:lnTo>
                  <a:lnTo>
                    <a:pt x="292" y="47"/>
                  </a:lnTo>
                  <a:lnTo>
                    <a:pt x="288" y="55"/>
                  </a:lnTo>
                  <a:lnTo>
                    <a:pt x="286" y="61"/>
                  </a:lnTo>
                  <a:lnTo>
                    <a:pt x="283" y="69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142" y="80"/>
                  </a:lnTo>
                  <a:lnTo>
                    <a:pt x="142" y="145"/>
                  </a:lnTo>
                  <a:lnTo>
                    <a:pt x="0" y="145"/>
                  </a:lnTo>
                  <a:lnTo>
                    <a:pt x="0" y="1070"/>
                  </a:lnTo>
                  <a:lnTo>
                    <a:pt x="522" y="1070"/>
                  </a:lnTo>
                  <a:lnTo>
                    <a:pt x="522" y="1070"/>
                  </a:lnTo>
                  <a:lnTo>
                    <a:pt x="517" y="1055"/>
                  </a:lnTo>
                  <a:lnTo>
                    <a:pt x="513" y="1041"/>
                  </a:lnTo>
                  <a:lnTo>
                    <a:pt x="513" y="1041"/>
                  </a:lnTo>
                  <a:lnTo>
                    <a:pt x="509" y="1027"/>
                  </a:lnTo>
                  <a:lnTo>
                    <a:pt x="508" y="1012"/>
                  </a:lnTo>
                  <a:lnTo>
                    <a:pt x="505" y="996"/>
                  </a:lnTo>
                  <a:lnTo>
                    <a:pt x="505" y="981"/>
                  </a:lnTo>
                  <a:lnTo>
                    <a:pt x="505" y="9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11484"/>
            <p:cNvSpPr>
              <a:spLocks/>
            </p:cNvSpPr>
            <p:nvPr/>
          </p:nvSpPr>
          <p:spPr bwMode="auto">
            <a:xfrm>
              <a:off x="7327621" y="5219925"/>
              <a:ext cx="200962" cy="240546"/>
            </a:xfrm>
            <a:custGeom>
              <a:avLst/>
              <a:gdLst>
                <a:gd name="T0" fmla="*/ 530 w 530"/>
                <a:gd name="T1" fmla="*/ 458 h 633"/>
                <a:gd name="T2" fmla="*/ 530 w 530"/>
                <a:gd name="T3" fmla="*/ 286 h 633"/>
                <a:gd name="T4" fmla="*/ 530 w 530"/>
                <a:gd name="T5" fmla="*/ 231 h 633"/>
                <a:gd name="T6" fmla="*/ 530 w 530"/>
                <a:gd name="T7" fmla="*/ 0 h 633"/>
                <a:gd name="T8" fmla="*/ 0 w 530"/>
                <a:gd name="T9" fmla="*/ 0 h 633"/>
                <a:gd name="T10" fmla="*/ 0 w 530"/>
                <a:gd name="T11" fmla="*/ 396 h 633"/>
                <a:gd name="T12" fmla="*/ 231 w 530"/>
                <a:gd name="T13" fmla="*/ 396 h 633"/>
                <a:gd name="T14" fmla="*/ 231 w 530"/>
                <a:gd name="T15" fmla="*/ 633 h 633"/>
                <a:gd name="T16" fmla="*/ 359 w 530"/>
                <a:gd name="T17" fmla="*/ 633 h 633"/>
                <a:gd name="T18" fmla="*/ 359 w 530"/>
                <a:gd name="T19" fmla="*/ 633 h 633"/>
                <a:gd name="T20" fmla="*/ 364 w 530"/>
                <a:gd name="T21" fmla="*/ 618 h 633"/>
                <a:gd name="T22" fmla="*/ 369 w 530"/>
                <a:gd name="T23" fmla="*/ 602 h 633"/>
                <a:gd name="T24" fmla="*/ 376 w 530"/>
                <a:gd name="T25" fmla="*/ 588 h 633"/>
                <a:gd name="T26" fmla="*/ 382 w 530"/>
                <a:gd name="T27" fmla="*/ 573 h 633"/>
                <a:gd name="T28" fmla="*/ 391 w 530"/>
                <a:gd name="T29" fmla="*/ 560 h 633"/>
                <a:gd name="T30" fmla="*/ 401 w 530"/>
                <a:gd name="T31" fmla="*/ 547 h 633"/>
                <a:gd name="T32" fmla="*/ 410 w 530"/>
                <a:gd name="T33" fmla="*/ 534 h 633"/>
                <a:gd name="T34" fmla="*/ 421 w 530"/>
                <a:gd name="T35" fmla="*/ 522 h 633"/>
                <a:gd name="T36" fmla="*/ 432 w 530"/>
                <a:gd name="T37" fmla="*/ 512 h 633"/>
                <a:gd name="T38" fmla="*/ 445 w 530"/>
                <a:gd name="T39" fmla="*/ 501 h 633"/>
                <a:gd name="T40" fmla="*/ 458 w 530"/>
                <a:gd name="T41" fmla="*/ 492 h 633"/>
                <a:gd name="T42" fmla="*/ 471 w 530"/>
                <a:gd name="T43" fmla="*/ 483 h 633"/>
                <a:gd name="T44" fmla="*/ 485 w 530"/>
                <a:gd name="T45" fmla="*/ 475 h 633"/>
                <a:gd name="T46" fmla="*/ 500 w 530"/>
                <a:gd name="T47" fmla="*/ 469 h 633"/>
                <a:gd name="T48" fmla="*/ 514 w 530"/>
                <a:gd name="T49" fmla="*/ 464 h 633"/>
                <a:gd name="T50" fmla="*/ 530 w 530"/>
                <a:gd name="T51" fmla="*/ 458 h 633"/>
                <a:gd name="T52" fmla="*/ 530 w 530"/>
                <a:gd name="T53" fmla="*/ 458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0" h="633">
                  <a:moveTo>
                    <a:pt x="530" y="458"/>
                  </a:moveTo>
                  <a:lnTo>
                    <a:pt x="530" y="286"/>
                  </a:lnTo>
                  <a:lnTo>
                    <a:pt x="530" y="231"/>
                  </a:lnTo>
                  <a:lnTo>
                    <a:pt x="530" y="0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231" y="396"/>
                  </a:lnTo>
                  <a:lnTo>
                    <a:pt x="231" y="633"/>
                  </a:lnTo>
                  <a:lnTo>
                    <a:pt x="359" y="633"/>
                  </a:lnTo>
                  <a:lnTo>
                    <a:pt x="359" y="633"/>
                  </a:lnTo>
                  <a:lnTo>
                    <a:pt x="364" y="618"/>
                  </a:lnTo>
                  <a:lnTo>
                    <a:pt x="369" y="602"/>
                  </a:lnTo>
                  <a:lnTo>
                    <a:pt x="376" y="588"/>
                  </a:lnTo>
                  <a:lnTo>
                    <a:pt x="382" y="573"/>
                  </a:lnTo>
                  <a:lnTo>
                    <a:pt x="391" y="560"/>
                  </a:lnTo>
                  <a:lnTo>
                    <a:pt x="401" y="547"/>
                  </a:lnTo>
                  <a:lnTo>
                    <a:pt x="410" y="534"/>
                  </a:lnTo>
                  <a:lnTo>
                    <a:pt x="421" y="522"/>
                  </a:lnTo>
                  <a:lnTo>
                    <a:pt x="432" y="512"/>
                  </a:lnTo>
                  <a:lnTo>
                    <a:pt x="445" y="501"/>
                  </a:lnTo>
                  <a:lnTo>
                    <a:pt x="458" y="492"/>
                  </a:lnTo>
                  <a:lnTo>
                    <a:pt x="471" y="483"/>
                  </a:lnTo>
                  <a:lnTo>
                    <a:pt x="485" y="475"/>
                  </a:lnTo>
                  <a:lnTo>
                    <a:pt x="500" y="469"/>
                  </a:lnTo>
                  <a:lnTo>
                    <a:pt x="514" y="464"/>
                  </a:lnTo>
                  <a:lnTo>
                    <a:pt x="530" y="458"/>
                  </a:lnTo>
                  <a:lnTo>
                    <a:pt x="530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Century Gothic" panose="020B0502020202020204" pitchFamily="34" charset="0"/>
              </a:endParaRPr>
            </a:p>
          </p:txBody>
        </p:sp>
      </p:grpSp>
      <p:cxnSp>
        <p:nvCxnSpPr>
          <p:cNvPr id="9" name="Straight Connector 8"/>
          <p:cNvCxnSpPr/>
          <p:nvPr/>
        </p:nvCxnSpPr>
        <p:spPr>
          <a:xfrm>
            <a:off x="947058" y="1552785"/>
            <a:ext cx="4339771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364E5D45-00F2-FEFB-1436-C7E8B3FFC032}"/>
              </a:ext>
            </a:extLst>
          </p:cNvPr>
          <p:cNvSpPr/>
          <p:nvPr/>
        </p:nvSpPr>
        <p:spPr>
          <a:xfrm>
            <a:off x="1901651" y="4762512"/>
            <a:ext cx="14285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clus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5C4B716-FF1A-2D24-690E-91BB17F80E88}"/>
              </a:ext>
            </a:extLst>
          </p:cNvPr>
          <p:cNvGrpSpPr/>
          <p:nvPr/>
        </p:nvGrpSpPr>
        <p:grpSpPr>
          <a:xfrm>
            <a:off x="1110171" y="4878155"/>
            <a:ext cx="585945" cy="446228"/>
            <a:chOff x="1749703" y="4844727"/>
            <a:chExt cx="585945" cy="446228"/>
          </a:xfrm>
          <a:solidFill>
            <a:srgbClr val="1B1464"/>
          </a:solidFill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0CF843DB-D872-7408-DCDD-56A457154402}"/>
                </a:ext>
              </a:extLst>
            </p:cNvPr>
            <p:cNvSpPr/>
            <p:nvPr/>
          </p:nvSpPr>
          <p:spPr>
            <a:xfrm flipV="1">
              <a:off x="1976024" y="4844727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453FBB0-C8D2-659F-181D-A16AE9239AF7}"/>
                </a:ext>
              </a:extLst>
            </p:cNvPr>
            <p:cNvSpPr/>
            <p:nvPr/>
          </p:nvSpPr>
          <p:spPr>
            <a:xfrm>
              <a:off x="1749703" y="4844844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5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9BB47A5-5F43-BD0D-4A80-C83E89C9B27F}"/>
              </a:ext>
            </a:extLst>
          </p:cNvPr>
          <p:cNvSpPr/>
          <p:nvPr/>
        </p:nvSpPr>
        <p:spPr>
          <a:xfrm>
            <a:off x="1890432" y="5532533"/>
            <a:ext cx="16626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noProof="1"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tributio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6115CF-112E-DD96-9CAE-F52CDBF1E286}"/>
              </a:ext>
            </a:extLst>
          </p:cNvPr>
          <p:cNvGrpSpPr/>
          <p:nvPr/>
        </p:nvGrpSpPr>
        <p:grpSpPr>
          <a:xfrm>
            <a:off x="1108471" y="5652290"/>
            <a:ext cx="585945" cy="446228"/>
            <a:chOff x="1749703" y="4844727"/>
            <a:chExt cx="585945" cy="446228"/>
          </a:xfrm>
          <a:solidFill>
            <a:srgbClr val="000000"/>
          </a:solidFill>
        </p:grpSpPr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F5A7BA52-3402-3357-7E32-C15A26401265}"/>
                </a:ext>
              </a:extLst>
            </p:cNvPr>
            <p:cNvSpPr/>
            <p:nvPr/>
          </p:nvSpPr>
          <p:spPr>
            <a:xfrm flipV="1">
              <a:off x="1976024" y="4844727"/>
              <a:ext cx="359624" cy="37796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6289211-CA93-40D1-5C7C-D185E2E1EEF6}"/>
                </a:ext>
              </a:extLst>
            </p:cNvPr>
            <p:cNvSpPr/>
            <p:nvPr/>
          </p:nvSpPr>
          <p:spPr>
            <a:xfrm>
              <a:off x="1749703" y="4844844"/>
              <a:ext cx="446111" cy="446111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entury Gothic" panose="020B0502020202020204" pitchFamily="34" charset="0"/>
                  <a:ea typeface="Roboto Light" panose="02000000000000000000" pitchFamily="2" charset="0"/>
                </a:rPr>
                <a:t>6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78943-0F98-EF62-CB2F-B4607FAE39D7}"/>
              </a:ext>
            </a:extLst>
          </p:cNvPr>
          <p:cNvSpPr/>
          <p:nvPr/>
        </p:nvSpPr>
        <p:spPr>
          <a:xfrm>
            <a:off x="1901651" y="5113046"/>
            <a:ext cx="2849487" cy="2616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clusion on the empirical finding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85BCFE4-FF5B-A73F-4BD2-D46B93ECA592}"/>
              </a:ext>
            </a:extLst>
          </p:cNvPr>
          <p:cNvSpPr/>
          <p:nvPr/>
        </p:nvSpPr>
        <p:spPr>
          <a:xfrm>
            <a:off x="1909887" y="5860796"/>
            <a:ext cx="3363972" cy="43088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100" noProof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tirbution to existing literature, &amp; further research questions</a:t>
            </a:r>
          </a:p>
        </p:txBody>
      </p:sp>
    </p:spTree>
    <p:extLst>
      <p:ext uri="{BB962C8B-B14F-4D97-AF65-F5344CB8AC3E}">
        <p14:creationId xmlns:p14="http://schemas.microsoft.com/office/powerpoint/2010/main" val="142094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33418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INTRO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DU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B86024-3E45-11BF-1838-8A45CFC9FB95}"/>
              </a:ext>
            </a:extLst>
          </p:cNvPr>
          <p:cNvSpPr txBox="1"/>
          <p:nvPr/>
        </p:nvSpPr>
        <p:spPr>
          <a:xfrm>
            <a:off x="980393" y="1583963"/>
            <a:ext cx="75095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Options trading activity and Tobin’s q (firm valu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17630A-C2FF-3B7F-400B-5E0BEC382793}"/>
              </a:ext>
            </a:extLst>
          </p:cNvPr>
          <p:cNvSpPr txBox="1"/>
          <p:nvPr/>
        </p:nvSpPr>
        <p:spPr>
          <a:xfrm>
            <a:off x="995037" y="3523445"/>
            <a:ext cx="62479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  <a:ea typeface="Calibri" panose="020F0502020204030204" pitchFamily="34" charset="0"/>
              </a:rPr>
              <a:t>2</a:t>
            </a:r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) Options trading and information produ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A60480-BD26-958E-A8A7-6FF801234EA7}"/>
              </a:ext>
            </a:extLst>
          </p:cNvPr>
          <p:cNvSpPr txBox="1"/>
          <p:nvPr/>
        </p:nvSpPr>
        <p:spPr>
          <a:xfrm>
            <a:off x="1828312" y="4104243"/>
            <a:ext cx="705011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- The effect of options activity on valuations obtains by way of options’ effects on information produ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4138DF-003D-667F-2167-6ACF56149573}"/>
              </a:ext>
            </a:extLst>
          </p:cNvPr>
          <p:cNvSpPr txBox="1"/>
          <p:nvPr/>
        </p:nvSpPr>
        <p:spPr>
          <a:xfrm>
            <a:off x="1828312" y="2045872"/>
            <a:ext cx="60970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- Valuation benefit from options to a firm should depend on trading activity</a:t>
            </a:r>
          </a:p>
        </p:txBody>
      </p:sp>
    </p:spTree>
    <p:extLst>
      <p:ext uri="{BB962C8B-B14F-4D97-AF65-F5344CB8AC3E}">
        <p14:creationId xmlns:p14="http://schemas.microsoft.com/office/powerpoint/2010/main" val="3542163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6C467A5D-609B-A6F1-DFC0-31FC3CFA3D4B}"/>
              </a:ext>
            </a:extLst>
          </p:cNvPr>
          <p:cNvSpPr/>
          <p:nvPr/>
        </p:nvSpPr>
        <p:spPr>
          <a:xfrm>
            <a:off x="2" y="1082624"/>
            <a:ext cx="12191998" cy="707053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33418"/>
            <a:ext cx="3292025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Method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0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D0673C-B0E9-DB8D-BDE1-80011C5E8B5B}"/>
              </a:ext>
            </a:extLst>
          </p:cNvPr>
          <p:cNvSpPr txBox="1"/>
          <p:nvPr/>
        </p:nvSpPr>
        <p:spPr>
          <a:xfrm>
            <a:off x="2820311" y="3919582"/>
            <a:ext cx="26289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ontrols</a:t>
            </a:r>
          </a:p>
          <a:p>
            <a:pPr>
              <a:buClr>
                <a:srgbClr val="E24848"/>
              </a:buClr>
              <a:defRPr/>
            </a:pP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ize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Share turnover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OA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apex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LTD</a:t>
            </a: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sz="18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Dividend dumm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F144B1-2402-9BF4-3CAE-B2C621D3387E}"/>
              </a:ext>
            </a:extLst>
          </p:cNvPr>
          <p:cNvSpPr txBox="1"/>
          <p:nvPr/>
        </p:nvSpPr>
        <p:spPr>
          <a:xfrm>
            <a:off x="320816" y="2005726"/>
            <a:ext cx="26289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Dependent variable</a:t>
            </a:r>
            <a:endParaRPr lang="en-US" sz="18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Tobin’s q</a:t>
            </a: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DC3DEF-A537-5DE0-9DB5-8EE9C84F8668}"/>
              </a:ext>
            </a:extLst>
          </p:cNvPr>
          <p:cNvSpPr txBox="1"/>
          <p:nvPr/>
        </p:nvSpPr>
        <p:spPr>
          <a:xfrm>
            <a:off x="320816" y="3931175"/>
            <a:ext cx="262890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Main predictor:</a:t>
            </a:r>
          </a:p>
          <a:p>
            <a:pPr>
              <a:buClr>
                <a:srgbClr val="E24848"/>
              </a:buClr>
              <a:defRPr/>
            </a:pPr>
            <a:endParaRPr lang="en-US" sz="16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 marL="171450" indent="-171450">
              <a:buClr>
                <a:srgbClr val="E24848"/>
              </a:buClr>
              <a:buFontTx/>
              <a:buChar char="-"/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Options Trading Volume</a:t>
            </a: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C0777C-932C-48DC-F72E-399F0F38A405}"/>
              </a:ext>
            </a:extLst>
          </p:cNvPr>
          <p:cNvSpPr txBox="1"/>
          <p:nvPr/>
        </p:nvSpPr>
        <p:spPr>
          <a:xfrm>
            <a:off x="320816" y="3357835"/>
            <a:ext cx="16614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sz="18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egress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AC2248-99B5-0E14-6F8B-D2022581D712}"/>
              </a:ext>
            </a:extLst>
          </p:cNvPr>
          <p:cNvSpPr txBox="1"/>
          <p:nvPr/>
        </p:nvSpPr>
        <p:spPr>
          <a:xfrm>
            <a:off x="6828069" y="2005726"/>
            <a:ext cx="26289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egression model:</a:t>
            </a:r>
            <a:endParaRPr lang="en-US" sz="18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ross-section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D93599-762A-3B92-F717-5C7E22437AE6}"/>
              </a:ext>
            </a:extLst>
          </p:cNvPr>
          <p:cNvSpPr txBox="1"/>
          <p:nvPr/>
        </p:nvSpPr>
        <p:spPr>
          <a:xfrm>
            <a:off x="6828069" y="3145105"/>
            <a:ext cx="45782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Check serial correlation:</a:t>
            </a:r>
            <a:endParaRPr lang="en-US" sz="18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T-statistics corrected according to the procedure of Newey and West (1987)</a:t>
            </a: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D417B6-F57D-216B-825F-CCE08AA0A50A}"/>
              </a:ext>
            </a:extLst>
          </p:cNvPr>
          <p:cNvSpPr txBox="1"/>
          <p:nvPr/>
        </p:nvSpPr>
        <p:spPr>
          <a:xfrm>
            <a:off x="6886127" y="4429120"/>
            <a:ext cx="344533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Robustness check:</a:t>
            </a:r>
            <a:endParaRPr lang="en-US" sz="1800" b="1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endParaRPr lang="en-US" sz="1800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Panel regression</a:t>
            </a: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Lag in options trading</a:t>
            </a: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Logarithm of options trading</a:t>
            </a: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Time fixed effetcs</a:t>
            </a:r>
          </a:p>
          <a:p>
            <a:pPr>
              <a:buClr>
                <a:srgbClr val="E24848"/>
              </a:buClr>
              <a:defRPr/>
            </a:pPr>
            <a:r>
              <a:rPr lang="en-US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Industry fixed effects</a:t>
            </a:r>
          </a:p>
          <a:p>
            <a:pPr>
              <a:buClr>
                <a:srgbClr val="E24848"/>
              </a:buClr>
              <a:defRPr/>
            </a:pPr>
            <a:endParaRPr lang="en-US" noProof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920AE5-3514-83DF-82F2-5D406F9F13C9}"/>
              </a:ext>
            </a:extLst>
          </p:cNvPr>
          <p:cNvSpPr/>
          <p:nvPr/>
        </p:nvSpPr>
        <p:spPr>
          <a:xfrm>
            <a:off x="422830" y="2400670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5CB94F-DD4B-8940-6E6B-9AC9183491FD}"/>
              </a:ext>
            </a:extLst>
          </p:cNvPr>
          <p:cNvSpPr/>
          <p:nvPr/>
        </p:nvSpPr>
        <p:spPr>
          <a:xfrm>
            <a:off x="422830" y="3779930"/>
            <a:ext cx="88070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F50838-E3D4-186E-D2C1-B6FB431228D5}"/>
              </a:ext>
            </a:extLst>
          </p:cNvPr>
          <p:cNvSpPr/>
          <p:nvPr/>
        </p:nvSpPr>
        <p:spPr>
          <a:xfrm>
            <a:off x="6952552" y="2415912"/>
            <a:ext cx="16314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FBDE44-BAED-02BA-6791-F6531EEA9524}"/>
              </a:ext>
            </a:extLst>
          </p:cNvPr>
          <p:cNvSpPr/>
          <p:nvPr/>
        </p:nvSpPr>
        <p:spPr>
          <a:xfrm>
            <a:off x="6977366" y="3535412"/>
            <a:ext cx="16314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9298B0-6D10-DA20-6371-F1384C4B7FFD}"/>
              </a:ext>
            </a:extLst>
          </p:cNvPr>
          <p:cNvSpPr/>
          <p:nvPr/>
        </p:nvSpPr>
        <p:spPr>
          <a:xfrm>
            <a:off x="7014944" y="4802609"/>
            <a:ext cx="16314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97D50FB-9E43-E6E8-AA62-7F3EE94E1339}"/>
              </a:ext>
            </a:extLst>
          </p:cNvPr>
          <p:cNvSpPr txBox="1"/>
          <p:nvPr/>
        </p:nvSpPr>
        <p:spPr>
          <a:xfrm>
            <a:off x="2466555" y="1195895"/>
            <a:ext cx="13926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bg1"/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Variables</a:t>
            </a:r>
            <a:endParaRPr lang="en-US" sz="1800" noProof="1">
              <a:solidFill>
                <a:schemeClr val="bg1"/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488C1C5-CBA1-6ACA-BDE7-EB52875C1CE9}"/>
              </a:ext>
            </a:extLst>
          </p:cNvPr>
          <p:cNvSpPr txBox="1"/>
          <p:nvPr/>
        </p:nvSpPr>
        <p:spPr>
          <a:xfrm>
            <a:off x="8247248" y="1195895"/>
            <a:ext cx="19900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en-US" b="1" noProof="1">
                <a:solidFill>
                  <a:schemeClr val="bg1"/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Econometrics </a:t>
            </a:r>
            <a:endParaRPr lang="en-US" sz="1800" noProof="1">
              <a:solidFill>
                <a:schemeClr val="bg1"/>
              </a:solidFill>
              <a:latin typeface="Century Gothic" panose="020B0502020202020204" pitchFamily="34" charset="0"/>
              <a:ea typeface="Roboto Light" panose="02000000000000000000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735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09821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dAT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D18B171-CBA6-F239-2CE6-F3617C4B8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1042" y="3733154"/>
            <a:ext cx="5092962" cy="2571882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C988C76-8F74-EA9D-4EC1-4F3C637F0CF5}"/>
              </a:ext>
            </a:extLst>
          </p:cNvPr>
          <p:cNvSpPr txBox="1"/>
          <p:nvPr/>
        </p:nvSpPr>
        <p:spPr>
          <a:xfrm>
            <a:off x="3680866" y="3247433"/>
            <a:ext cx="43866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Century Gothic" panose="020B0502020202020204" pitchFamily="34" charset="0"/>
              </a:rPr>
              <a:t>Sample size of firms from 1996 to 200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F7BFD6-6F08-3044-D400-0CAB6579B60D}"/>
              </a:ext>
            </a:extLst>
          </p:cNvPr>
          <p:cNvSpPr/>
          <p:nvPr/>
        </p:nvSpPr>
        <p:spPr>
          <a:xfrm>
            <a:off x="3576426" y="2068729"/>
            <a:ext cx="20045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Options trading dat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750BF6-C600-C716-4A5A-35C8B47C7D45}"/>
              </a:ext>
            </a:extLst>
          </p:cNvPr>
          <p:cNvSpPr/>
          <p:nvPr/>
        </p:nvSpPr>
        <p:spPr>
          <a:xfrm>
            <a:off x="3576426" y="1937984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FE9F03-5C51-3B49-949A-0EBF87044CC9}"/>
              </a:ext>
            </a:extLst>
          </p:cNvPr>
          <p:cNvSpPr/>
          <p:nvPr/>
        </p:nvSpPr>
        <p:spPr>
          <a:xfrm>
            <a:off x="3433640" y="1142822"/>
            <a:ext cx="2563355" cy="87942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algn="just">
              <a:lnSpc>
                <a:spcPct val="2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nMetrics</a:t>
            </a:r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L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785F5B5-459E-9C46-D348-341A2B840A19}"/>
              </a:ext>
            </a:extLst>
          </p:cNvPr>
          <p:cNvSpPr/>
          <p:nvPr/>
        </p:nvSpPr>
        <p:spPr>
          <a:xfrm>
            <a:off x="6351548" y="2068729"/>
            <a:ext cx="20045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en-US" sz="1600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Roboto Light" panose="02000000000000000000" pitchFamily="2" charset="0"/>
                <a:cs typeface="Arial" charset="0"/>
              </a:rPr>
              <a:t>Tobin’s q &amp; control variable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51C6C16-FC4C-BD43-C620-076D02590E87}"/>
              </a:ext>
            </a:extLst>
          </p:cNvPr>
          <p:cNvSpPr/>
          <p:nvPr/>
        </p:nvSpPr>
        <p:spPr>
          <a:xfrm>
            <a:off x="6351548" y="1937984"/>
            <a:ext cx="2004557" cy="3778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808552-0DD3-35BF-6584-661ABEDC5521}"/>
              </a:ext>
            </a:extLst>
          </p:cNvPr>
          <p:cNvSpPr/>
          <p:nvPr/>
        </p:nvSpPr>
        <p:spPr>
          <a:xfrm>
            <a:off x="6613877" y="1137461"/>
            <a:ext cx="1640182" cy="87942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algn="just">
              <a:lnSpc>
                <a:spcPct val="2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ustat</a:t>
            </a:r>
            <a:endParaRPr lang="en-US" sz="20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5021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E43EAC-4EE4-493E-B844-9691317359C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413283" y="333418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Empirical 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analy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464B25-6876-1472-388B-DB1CA15012FA}"/>
              </a:ext>
            </a:extLst>
          </p:cNvPr>
          <p:cNvSpPr txBox="1"/>
          <p:nvPr/>
        </p:nvSpPr>
        <p:spPr>
          <a:xfrm>
            <a:off x="6553202" y="2018761"/>
            <a:ext cx="51945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2) Subsamples</a:t>
            </a:r>
          </a:p>
          <a:p>
            <a:r>
              <a:rPr lang="en-US" sz="14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      firms with positive options volume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B7DCD6-1E4B-AE8F-3BC6-0527F587AAB6}"/>
              </a:ext>
            </a:extLst>
          </p:cNvPr>
          <p:cNvSpPr txBox="1"/>
          <p:nvPr/>
        </p:nvSpPr>
        <p:spPr>
          <a:xfrm>
            <a:off x="3346315" y="1152569"/>
            <a:ext cx="514593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Century Gothic" panose="020B0502020202020204" pitchFamily="34" charset="0"/>
                <a:ea typeface="Calibri" panose="020F0502020204030204" pitchFamily="34" charset="0"/>
              </a:rPr>
              <a:t>(I) </a:t>
            </a:r>
          </a:p>
          <a:p>
            <a:pPr algn="ctr"/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Base case- Cross sectiona</a:t>
            </a:r>
            <a:r>
              <a:rPr lang="en-US" sz="2000" b="1" dirty="0">
                <a:latin typeface="Century Gothic" panose="020B0502020202020204" pitchFamily="34" charset="0"/>
                <a:ea typeface="Calibri" panose="020F0502020204030204" pitchFamily="34" charset="0"/>
              </a:rPr>
              <a:t>l regression</a:t>
            </a:r>
            <a:endParaRPr lang="en-US" sz="2000" b="1" dirty="0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49CABC-9495-D2A0-B912-3CA70F5317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24" y="2719760"/>
            <a:ext cx="5239966" cy="246483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C1342CD-A7B8-89F1-07DC-94AA39B22473}"/>
              </a:ext>
            </a:extLst>
          </p:cNvPr>
          <p:cNvSpPr txBox="1"/>
          <p:nvPr/>
        </p:nvSpPr>
        <p:spPr>
          <a:xfrm>
            <a:off x="346953" y="1997720"/>
            <a:ext cx="317446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1) Full sample</a:t>
            </a:r>
          </a:p>
          <a:p>
            <a:r>
              <a:rPr lang="en-US" sz="1400" dirty="0">
                <a:latin typeface="Century Gothic" panose="020B0502020202020204" pitchFamily="34" charset="0"/>
                <a:ea typeface="Calibri" panose="020F0502020204030204" pitchFamily="34" charset="0"/>
              </a:rPr>
              <a:t>     all the firms in the samp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7F252B-6CEC-B951-967C-714DBF044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2112" y="2704699"/>
            <a:ext cx="5194570" cy="244621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D07F1F7-0580-6EFB-5B0B-0FE53F51EACD}"/>
              </a:ext>
            </a:extLst>
          </p:cNvPr>
          <p:cNvSpPr/>
          <p:nvPr/>
        </p:nvSpPr>
        <p:spPr>
          <a:xfrm>
            <a:off x="2444885" y="3177701"/>
            <a:ext cx="901430" cy="316149"/>
          </a:xfrm>
          <a:prstGeom prst="rect">
            <a:avLst/>
          </a:prstGeom>
          <a:noFill/>
          <a:ln w="28575">
            <a:solidFill>
              <a:srgbClr val="00B0F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3C26F2-B29F-5D38-62FB-3C835F24A2CE}"/>
              </a:ext>
            </a:extLst>
          </p:cNvPr>
          <p:cNvSpPr/>
          <p:nvPr/>
        </p:nvSpPr>
        <p:spPr>
          <a:xfrm>
            <a:off x="8690042" y="3175609"/>
            <a:ext cx="901430" cy="316149"/>
          </a:xfrm>
          <a:prstGeom prst="rect">
            <a:avLst/>
          </a:prstGeom>
          <a:noFill/>
          <a:ln w="28575">
            <a:solidFill>
              <a:srgbClr val="00B0F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D0BEAB-3701-AD67-D9BA-75CD4BF7093B}"/>
              </a:ext>
            </a:extLst>
          </p:cNvPr>
          <p:cNvSpPr txBox="1"/>
          <p:nvPr/>
        </p:nvSpPr>
        <p:spPr>
          <a:xfrm>
            <a:off x="3112854" y="5706799"/>
            <a:ext cx="60635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entury Gothic" panose="020B0502020202020204" pitchFamily="34" charset="0"/>
                <a:ea typeface="Calibri" panose="020F0502020204030204" pitchFamily="34" charset="0"/>
              </a:rPr>
              <a:t>E</a:t>
            </a:r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ffect of options trading on firm valuation (TOBIN’S q) is both statistically and economically </a:t>
            </a:r>
            <a:r>
              <a:rPr lang="en-US" sz="18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significant.</a:t>
            </a:r>
            <a:endParaRPr lang="en-US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8712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2171495" y="194937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Empirical 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464B25-6876-1472-388B-DB1CA15012FA}"/>
              </a:ext>
            </a:extLst>
          </p:cNvPr>
          <p:cNvSpPr txBox="1"/>
          <p:nvPr/>
        </p:nvSpPr>
        <p:spPr>
          <a:xfrm>
            <a:off x="8075155" y="2004896"/>
            <a:ext cx="2827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2) Panel regression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EC068E-449E-E07F-8295-7ED707D4D11F}"/>
              </a:ext>
            </a:extLst>
          </p:cNvPr>
          <p:cNvGrpSpPr/>
          <p:nvPr/>
        </p:nvGrpSpPr>
        <p:grpSpPr>
          <a:xfrm>
            <a:off x="-332950" y="0"/>
            <a:ext cx="2261240" cy="6858000"/>
            <a:chOff x="-101700" y="1525237"/>
            <a:chExt cx="2261240" cy="5085740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D10D265-A724-78D3-2365-50A8EC64BF51}"/>
                </a:ext>
              </a:extLst>
            </p:cNvPr>
            <p:cNvSpPr/>
            <p:nvPr/>
          </p:nvSpPr>
          <p:spPr>
            <a:xfrm>
              <a:off x="-101700" y="1525237"/>
              <a:ext cx="2261240" cy="5085740"/>
            </a:xfrm>
            <a:prstGeom prst="round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0B7DCD6-1E4B-AE8F-3BC6-0527F587AAB6}"/>
                </a:ext>
              </a:extLst>
            </p:cNvPr>
            <p:cNvSpPr txBox="1"/>
            <p:nvPr/>
          </p:nvSpPr>
          <p:spPr>
            <a:xfrm>
              <a:off x="191951" y="3478758"/>
              <a:ext cx="190013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Calibri" panose="020F0502020204030204" pitchFamily="34" charset="0"/>
                </a:rPr>
                <a:t>(II) 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Robustness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checks</a:t>
              </a:r>
              <a:endParaRPr lang="en-US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C1342CD-A7B8-89F1-07DC-94AA39B22473}"/>
              </a:ext>
            </a:extLst>
          </p:cNvPr>
          <p:cNvSpPr txBox="1"/>
          <p:nvPr/>
        </p:nvSpPr>
        <p:spPr>
          <a:xfrm>
            <a:off x="2784846" y="2020285"/>
            <a:ext cx="31429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1) Log options volume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5CC7A3-855E-9A4C-5F08-03456C9B1F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6" t="6695" r="26161" b="3120"/>
          <a:stretch/>
        </p:blipFill>
        <p:spPr>
          <a:xfrm>
            <a:off x="2273627" y="2585940"/>
            <a:ext cx="4055951" cy="23074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DF82C5B-31F9-372F-A3B3-7E5F7EE7D4E9}"/>
              </a:ext>
            </a:extLst>
          </p:cNvPr>
          <p:cNvSpPr/>
          <p:nvPr/>
        </p:nvSpPr>
        <p:spPr>
          <a:xfrm>
            <a:off x="4590577" y="2895144"/>
            <a:ext cx="966139" cy="330850"/>
          </a:xfrm>
          <a:prstGeom prst="rect">
            <a:avLst/>
          </a:prstGeom>
          <a:noFill/>
          <a:ln w="28575">
            <a:solidFill>
              <a:srgbClr val="00B0F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F9F28F5-1D31-6383-512F-006DF79BC95C}"/>
              </a:ext>
            </a:extLst>
          </p:cNvPr>
          <p:cNvGrpSpPr/>
          <p:nvPr/>
        </p:nvGrpSpPr>
        <p:grpSpPr>
          <a:xfrm>
            <a:off x="7344138" y="2585941"/>
            <a:ext cx="4317356" cy="2307466"/>
            <a:chOff x="2311862" y="4442167"/>
            <a:chExt cx="4098183" cy="216899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DFF1492-FEE3-934E-0D74-EB41F87239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821" r="14941" b="1497"/>
            <a:stretch/>
          </p:blipFill>
          <p:spPr>
            <a:xfrm>
              <a:off x="2311862" y="4442167"/>
              <a:ext cx="4098183" cy="216899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8299BBC-A23D-77F4-C2DF-D774C062A82C}"/>
                </a:ext>
              </a:extLst>
            </p:cNvPr>
            <p:cNvSpPr/>
            <p:nvPr/>
          </p:nvSpPr>
          <p:spPr>
            <a:xfrm>
              <a:off x="4270782" y="5149978"/>
              <a:ext cx="966139" cy="330850"/>
            </a:xfrm>
            <a:prstGeom prst="rect">
              <a:avLst/>
            </a:prstGeom>
            <a:noFill/>
            <a:ln w="28575">
              <a:solidFill>
                <a:srgbClr val="00B0F0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1A7CDFA-CBE4-A4AA-0B11-9E9BEE827855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031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96A3FF-12D8-485B-C462-54164624A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17218" y="4003875"/>
            <a:ext cx="605883" cy="345805"/>
          </a:xfrm>
        </p:spPr>
        <p:txBody>
          <a:bodyPr/>
          <a:lstStyle/>
          <a:p>
            <a:fld id="{52E43EAC-4EE4-493E-B844-9691317359C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DCA3C9-2A0B-3A3F-6120-5E2ECE7B6B6B}"/>
              </a:ext>
            </a:extLst>
          </p:cNvPr>
          <p:cNvSpPr/>
          <p:nvPr/>
        </p:nvSpPr>
        <p:spPr>
          <a:xfrm>
            <a:off x="2171495" y="194937"/>
            <a:ext cx="9724139" cy="640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082">
              <a:spcBef>
                <a:spcPct val="0"/>
              </a:spcBef>
            </a:pPr>
            <a:r>
              <a:rPr lang="en-US" sz="4800" noProof="1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Empirical </a:t>
            </a:r>
            <a:r>
              <a:rPr lang="en-US" sz="4800" noProof="1">
                <a:solidFill>
                  <a:srgbClr val="00B0F0"/>
                </a:solidFill>
                <a:latin typeface="Bebas Neue" panose="020B0606020202050201" pitchFamily="34" charset="0"/>
                <a:ea typeface="Roboto Light" panose="02000000000000000000" pitchFamily="2" charset="0"/>
                <a:cs typeface="Lato Light" panose="020F0402020204030203" pitchFamily="34" charset="0"/>
              </a:rPr>
              <a:t>analy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FB4D7B-82DC-FA97-74C4-495A63DE3447}"/>
              </a:ext>
            </a:extLst>
          </p:cNvPr>
          <p:cNvSpPr/>
          <p:nvPr/>
        </p:nvSpPr>
        <p:spPr>
          <a:xfrm>
            <a:off x="9622574" y="4003875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EC068E-449E-E07F-8295-7ED707D4D11F}"/>
              </a:ext>
            </a:extLst>
          </p:cNvPr>
          <p:cNvGrpSpPr/>
          <p:nvPr/>
        </p:nvGrpSpPr>
        <p:grpSpPr>
          <a:xfrm>
            <a:off x="-332950" y="0"/>
            <a:ext cx="2261240" cy="6858000"/>
            <a:chOff x="-101700" y="1525237"/>
            <a:chExt cx="2261240" cy="5085740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D10D265-A724-78D3-2365-50A8EC64BF51}"/>
                </a:ext>
              </a:extLst>
            </p:cNvPr>
            <p:cNvSpPr/>
            <p:nvPr/>
          </p:nvSpPr>
          <p:spPr>
            <a:xfrm>
              <a:off x="-101700" y="1525237"/>
              <a:ext cx="2261240" cy="5085740"/>
            </a:xfrm>
            <a:prstGeom prst="roundRect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0B7DCD6-1E4B-AE8F-3BC6-0527F587AAB6}"/>
                </a:ext>
              </a:extLst>
            </p:cNvPr>
            <p:cNvSpPr txBox="1"/>
            <p:nvPr/>
          </p:nvSpPr>
          <p:spPr>
            <a:xfrm>
              <a:off x="191951" y="3478758"/>
              <a:ext cx="190013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Calibri" panose="020F0502020204030204" pitchFamily="34" charset="0"/>
                </a:rPr>
                <a:t>(II) 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Robustness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  <a:effectLst/>
                  <a:latin typeface="Century Gothic" panose="020B0502020202020204" pitchFamily="34" charset="0"/>
                  <a:ea typeface="Calibri" panose="020F0502020204030204" pitchFamily="34" charset="0"/>
                </a:rPr>
                <a:t>checks</a:t>
              </a:r>
              <a:endParaRPr lang="en-US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86815C6-2068-9144-20D1-1F2867CC5F6F}"/>
              </a:ext>
            </a:extLst>
          </p:cNvPr>
          <p:cNvSpPr txBox="1"/>
          <p:nvPr/>
        </p:nvSpPr>
        <p:spPr>
          <a:xfrm>
            <a:off x="5795968" y="1211171"/>
            <a:ext cx="22612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  <a:ea typeface="Calibri" panose="020F0502020204030204" pitchFamily="34" charset="0"/>
              </a:rPr>
              <a:t>3</a:t>
            </a:r>
            <a:r>
              <a:rPr lang="en-US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) Endogeneity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D534F1A-FA2D-52DB-D3A9-0200C6A957CB}"/>
              </a:ext>
            </a:extLst>
          </p:cNvPr>
          <p:cNvGrpSpPr/>
          <p:nvPr/>
        </p:nvGrpSpPr>
        <p:grpSpPr>
          <a:xfrm>
            <a:off x="2221941" y="1956677"/>
            <a:ext cx="4055950" cy="2393003"/>
            <a:chOff x="6907828" y="4517122"/>
            <a:chExt cx="4055950" cy="2393003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41D402E-5D7F-E0F0-0807-DF344EB1A9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979" b="1816"/>
            <a:stretch/>
          </p:blipFill>
          <p:spPr>
            <a:xfrm>
              <a:off x="6907828" y="4517122"/>
              <a:ext cx="4055950" cy="239300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BF5722B-8985-3EEC-F61B-71CF0F6450B0}"/>
                </a:ext>
              </a:extLst>
            </p:cNvPr>
            <p:cNvSpPr/>
            <p:nvPr/>
          </p:nvSpPr>
          <p:spPr>
            <a:xfrm>
              <a:off x="9103213" y="4921689"/>
              <a:ext cx="966139" cy="330850"/>
            </a:xfrm>
            <a:prstGeom prst="rect">
              <a:avLst/>
            </a:prstGeom>
            <a:noFill/>
            <a:ln w="28575">
              <a:solidFill>
                <a:srgbClr val="00B0F0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05B4965-1857-0F23-1F6B-F1F644696A6A}"/>
              </a:ext>
            </a:extLst>
          </p:cNvPr>
          <p:cNvGrpSpPr/>
          <p:nvPr/>
        </p:nvGrpSpPr>
        <p:grpSpPr>
          <a:xfrm>
            <a:off x="6864550" y="1908565"/>
            <a:ext cx="5055609" cy="2821021"/>
            <a:chOff x="6971489" y="2239713"/>
            <a:chExt cx="5055609" cy="2821021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F4B8E6F-957A-84BD-2077-FAB4D29F8B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237" t="1715" r="222" b="2132"/>
            <a:stretch/>
          </p:blipFill>
          <p:spPr>
            <a:xfrm>
              <a:off x="6971489" y="2239713"/>
              <a:ext cx="5055609" cy="28210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3C857EF-2EB3-3932-8020-7D53CA4E3E09}"/>
                </a:ext>
              </a:extLst>
            </p:cNvPr>
            <p:cNvSpPr/>
            <p:nvPr/>
          </p:nvSpPr>
          <p:spPr>
            <a:xfrm>
              <a:off x="7928507" y="3014166"/>
              <a:ext cx="966139" cy="330850"/>
            </a:xfrm>
            <a:prstGeom prst="rect">
              <a:avLst/>
            </a:prstGeom>
            <a:noFill/>
            <a:ln w="28575">
              <a:solidFill>
                <a:srgbClr val="00B0F0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92F3FAC-AE56-A50B-8BCE-7118B9344EC6}"/>
                </a:ext>
              </a:extLst>
            </p:cNvPr>
            <p:cNvSpPr/>
            <p:nvPr/>
          </p:nvSpPr>
          <p:spPr>
            <a:xfrm>
              <a:off x="9902756" y="3014166"/>
              <a:ext cx="966139" cy="330850"/>
            </a:xfrm>
            <a:prstGeom prst="rect">
              <a:avLst/>
            </a:prstGeom>
            <a:noFill/>
            <a:ln w="28575">
              <a:solidFill>
                <a:srgbClr val="00B0F0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7E47331-A1E8-FA25-5347-A82714890554}"/>
              </a:ext>
            </a:extLst>
          </p:cNvPr>
          <p:cNvSpPr txBox="1"/>
          <p:nvPr/>
        </p:nvSpPr>
        <p:spPr>
          <a:xfrm>
            <a:off x="7121627" y="4875347"/>
            <a:ext cx="47740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Two instruments for options volume that are unrelated to Tobin’s q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849AE1-0117-378D-57A5-424F946F37BF}"/>
              </a:ext>
            </a:extLst>
          </p:cNvPr>
          <p:cNvSpPr txBox="1"/>
          <p:nvPr/>
        </p:nvSpPr>
        <p:spPr>
          <a:xfrm>
            <a:off x="2270022" y="4569581"/>
            <a:ext cx="39597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One-year lagged options volu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03B7DEA-89D8-215D-649C-430BCA957A57}"/>
              </a:ext>
            </a:extLst>
          </p:cNvPr>
          <p:cNvSpPr/>
          <p:nvPr/>
        </p:nvSpPr>
        <p:spPr>
          <a:xfrm>
            <a:off x="9591472" y="6499910"/>
            <a:ext cx="1679643" cy="30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714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088</TotalTime>
  <Words>713</Words>
  <Application>Microsoft Office PowerPoint</Application>
  <PresentationFormat>Widescreen</PresentationFormat>
  <Paragraphs>161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Bebas Neue</vt:lpstr>
      <vt:lpstr>Calibri</vt:lpstr>
      <vt:lpstr>Calibri Light</vt:lpstr>
      <vt:lpstr>Century Gothic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Hemal Karmakar</cp:lastModifiedBy>
  <cp:revision>1545</cp:revision>
  <dcterms:created xsi:type="dcterms:W3CDTF">2015-01-01T10:40:40Z</dcterms:created>
  <dcterms:modified xsi:type="dcterms:W3CDTF">2023-03-23T01:43:42Z</dcterms:modified>
</cp:coreProperties>
</file>